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08" r:id="rId2"/>
    <p:sldMasterId id="2147483721" r:id="rId3"/>
  </p:sldMasterIdLst>
  <p:notesMasterIdLst>
    <p:notesMasterId r:id="rId27"/>
  </p:notesMasterIdLst>
  <p:sldIdLst>
    <p:sldId id="256" r:id="rId4"/>
    <p:sldId id="262" r:id="rId5"/>
    <p:sldId id="257" r:id="rId6"/>
    <p:sldId id="266" r:id="rId7"/>
    <p:sldId id="302" r:id="rId8"/>
    <p:sldId id="270" r:id="rId9"/>
    <p:sldId id="271" r:id="rId10"/>
    <p:sldId id="272" r:id="rId11"/>
    <p:sldId id="274" r:id="rId12"/>
    <p:sldId id="303" r:id="rId13"/>
    <p:sldId id="304" r:id="rId14"/>
    <p:sldId id="305" r:id="rId15"/>
    <p:sldId id="306" r:id="rId16"/>
    <p:sldId id="307" r:id="rId17"/>
    <p:sldId id="308" r:id="rId18"/>
    <p:sldId id="309" r:id="rId19"/>
    <p:sldId id="310" r:id="rId20"/>
    <p:sldId id="311" r:id="rId21"/>
    <p:sldId id="312" r:id="rId22"/>
    <p:sldId id="313" r:id="rId23"/>
    <p:sldId id="314" r:id="rId24"/>
    <p:sldId id="315" r:id="rId25"/>
    <p:sldId id="316" r:id="rId26"/>
  </p:sldIdLst>
  <p:sldSz cx="9144000" cy="5715000" type="screen16x10"/>
  <p:notesSz cx="6858000" cy="9144000"/>
  <p:defaultTextStyle>
    <a:defPPr>
      <a:defRPr lang="zh-CN"/>
    </a:defPPr>
    <a:lvl1pPr marL="0" algn="l" defTabSz="914190" rtl="0" eaLnBrk="1" latinLnBrk="0" hangingPunct="1">
      <a:defRPr sz="1800" kern="1200">
        <a:solidFill>
          <a:schemeClr val="tx1"/>
        </a:solidFill>
        <a:latin typeface="+mn-lt"/>
        <a:ea typeface="+mn-ea"/>
        <a:cs typeface="+mn-cs"/>
      </a:defRPr>
    </a:lvl1pPr>
    <a:lvl2pPr marL="457095" algn="l" defTabSz="914190" rtl="0" eaLnBrk="1" latinLnBrk="0" hangingPunct="1">
      <a:defRPr sz="1800" kern="1200">
        <a:solidFill>
          <a:schemeClr val="tx1"/>
        </a:solidFill>
        <a:latin typeface="+mn-lt"/>
        <a:ea typeface="+mn-ea"/>
        <a:cs typeface="+mn-cs"/>
      </a:defRPr>
    </a:lvl2pPr>
    <a:lvl3pPr marL="914190" algn="l" defTabSz="914190" rtl="0" eaLnBrk="1" latinLnBrk="0" hangingPunct="1">
      <a:defRPr sz="1800" kern="1200">
        <a:solidFill>
          <a:schemeClr val="tx1"/>
        </a:solidFill>
        <a:latin typeface="+mn-lt"/>
        <a:ea typeface="+mn-ea"/>
        <a:cs typeface="+mn-cs"/>
      </a:defRPr>
    </a:lvl3pPr>
    <a:lvl4pPr marL="1371286" algn="l" defTabSz="914190" rtl="0" eaLnBrk="1" latinLnBrk="0" hangingPunct="1">
      <a:defRPr sz="1800" kern="1200">
        <a:solidFill>
          <a:schemeClr val="tx1"/>
        </a:solidFill>
        <a:latin typeface="+mn-lt"/>
        <a:ea typeface="+mn-ea"/>
        <a:cs typeface="+mn-cs"/>
      </a:defRPr>
    </a:lvl4pPr>
    <a:lvl5pPr marL="1828380" algn="l" defTabSz="914190" rtl="0" eaLnBrk="1" latinLnBrk="0" hangingPunct="1">
      <a:defRPr sz="1800" kern="1200">
        <a:solidFill>
          <a:schemeClr val="tx1"/>
        </a:solidFill>
        <a:latin typeface="+mn-lt"/>
        <a:ea typeface="+mn-ea"/>
        <a:cs typeface="+mn-cs"/>
      </a:defRPr>
    </a:lvl5pPr>
    <a:lvl6pPr marL="2285476" algn="l" defTabSz="914190" rtl="0" eaLnBrk="1" latinLnBrk="0" hangingPunct="1">
      <a:defRPr sz="1800" kern="1200">
        <a:solidFill>
          <a:schemeClr val="tx1"/>
        </a:solidFill>
        <a:latin typeface="+mn-lt"/>
        <a:ea typeface="+mn-ea"/>
        <a:cs typeface="+mn-cs"/>
      </a:defRPr>
    </a:lvl6pPr>
    <a:lvl7pPr marL="2742570" algn="l" defTabSz="914190" rtl="0" eaLnBrk="1" latinLnBrk="0" hangingPunct="1">
      <a:defRPr sz="1800" kern="1200">
        <a:solidFill>
          <a:schemeClr val="tx1"/>
        </a:solidFill>
        <a:latin typeface="+mn-lt"/>
        <a:ea typeface="+mn-ea"/>
        <a:cs typeface="+mn-cs"/>
      </a:defRPr>
    </a:lvl7pPr>
    <a:lvl8pPr marL="3199667" algn="l" defTabSz="914190" rtl="0" eaLnBrk="1" latinLnBrk="0" hangingPunct="1">
      <a:defRPr sz="1800" kern="1200">
        <a:solidFill>
          <a:schemeClr val="tx1"/>
        </a:solidFill>
        <a:latin typeface="+mn-lt"/>
        <a:ea typeface="+mn-ea"/>
        <a:cs typeface="+mn-cs"/>
      </a:defRPr>
    </a:lvl8pPr>
    <a:lvl9pPr marL="3656761" algn="l" defTabSz="91419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96F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autoAdjust="0"/>
    <p:restoredTop sz="95031" autoAdjust="0"/>
  </p:normalViewPr>
  <p:slideViewPr>
    <p:cSldViewPr>
      <p:cViewPr>
        <p:scale>
          <a:sx n="90" d="100"/>
          <a:sy n="90" d="100"/>
        </p:scale>
        <p:origin x="-594" y="216"/>
      </p:cViewPr>
      <p:guideLst>
        <p:guide orient="horz" pos="1800"/>
        <p:guide pos="2880"/>
      </p:guideLst>
    </p:cSldViewPr>
  </p:slideViewPr>
  <p:outlineViewPr>
    <p:cViewPr>
      <p:scale>
        <a:sx n="33" d="100"/>
        <a:sy n="33" d="100"/>
      </p:scale>
      <p:origin x="0" y="21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86DCFA4-4261-45A0-BA7A-3B7466DAD9BB}" type="datetimeFigureOut">
              <a:rPr lang="zh-CN" altLang="en-US" smtClean="0"/>
              <a:t>2018-12-11</a:t>
            </a:fld>
            <a:endParaRPr lang="zh-CN" altLang="en-US"/>
          </a:p>
        </p:txBody>
      </p:sp>
      <p:sp>
        <p:nvSpPr>
          <p:cNvPr id="4" name="幻灯片图像占位符 3"/>
          <p:cNvSpPr>
            <a:spLocks noGrp="1" noRot="1" noChangeAspect="1"/>
          </p:cNvSpPr>
          <p:nvPr>
            <p:ph type="sldImg" idx="2"/>
          </p:nvPr>
        </p:nvSpPr>
        <p:spPr>
          <a:xfrm>
            <a:off x="685800" y="685800"/>
            <a:ext cx="54864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5C6D81E-CAAB-4D0D-951A-FBDD8154145B}" type="slidenum">
              <a:rPr lang="zh-CN" altLang="en-US" smtClean="0"/>
              <a:t>‹#›</a:t>
            </a:fld>
            <a:endParaRPr lang="zh-CN" altLang="en-US"/>
          </a:p>
        </p:txBody>
      </p:sp>
    </p:spTree>
    <p:extLst>
      <p:ext uri="{BB962C8B-B14F-4D97-AF65-F5344CB8AC3E}">
        <p14:creationId xmlns:p14="http://schemas.microsoft.com/office/powerpoint/2010/main" val="77264127"/>
      </p:ext>
    </p:extLst>
  </p:cSld>
  <p:clrMap bg1="lt1" tx1="dk1" bg2="lt2" tx2="dk2" accent1="accent1" accent2="accent2" accent3="accent3" accent4="accent4" accent5="accent5" accent6="accent6" hlink="hlink" folHlink="folHlink"/>
  <p:notesStyle>
    <a:lvl1pPr marL="0" algn="l" defTabSz="914190" rtl="0" eaLnBrk="1" latinLnBrk="0" hangingPunct="1">
      <a:defRPr sz="1200" kern="1200">
        <a:solidFill>
          <a:schemeClr val="tx1"/>
        </a:solidFill>
        <a:latin typeface="+mn-lt"/>
        <a:ea typeface="+mn-ea"/>
        <a:cs typeface="+mn-cs"/>
      </a:defRPr>
    </a:lvl1pPr>
    <a:lvl2pPr marL="457095" algn="l" defTabSz="914190" rtl="0" eaLnBrk="1" latinLnBrk="0" hangingPunct="1">
      <a:defRPr sz="1200" kern="1200">
        <a:solidFill>
          <a:schemeClr val="tx1"/>
        </a:solidFill>
        <a:latin typeface="+mn-lt"/>
        <a:ea typeface="+mn-ea"/>
        <a:cs typeface="+mn-cs"/>
      </a:defRPr>
    </a:lvl2pPr>
    <a:lvl3pPr marL="914190" algn="l" defTabSz="914190" rtl="0" eaLnBrk="1" latinLnBrk="0" hangingPunct="1">
      <a:defRPr sz="1200" kern="1200">
        <a:solidFill>
          <a:schemeClr val="tx1"/>
        </a:solidFill>
        <a:latin typeface="+mn-lt"/>
        <a:ea typeface="+mn-ea"/>
        <a:cs typeface="+mn-cs"/>
      </a:defRPr>
    </a:lvl3pPr>
    <a:lvl4pPr marL="1371286" algn="l" defTabSz="914190" rtl="0" eaLnBrk="1" latinLnBrk="0" hangingPunct="1">
      <a:defRPr sz="1200" kern="1200">
        <a:solidFill>
          <a:schemeClr val="tx1"/>
        </a:solidFill>
        <a:latin typeface="+mn-lt"/>
        <a:ea typeface="+mn-ea"/>
        <a:cs typeface="+mn-cs"/>
      </a:defRPr>
    </a:lvl4pPr>
    <a:lvl5pPr marL="1828380" algn="l" defTabSz="914190" rtl="0" eaLnBrk="1" latinLnBrk="0" hangingPunct="1">
      <a:defRPr sz="1200" kern="1200">
        <a:solidFill>
          <a:schemeClr val="tx1"/>
        </a:solidFill>
        <a:latin typeface="+mn-lt"/>
        <a:ea typeface="+mn-ea"/>
        <a:cs typeface="+mn-cs"/>
      </a:defRPr>
    </a:lvl5pPr>
    <a:lvl6pPr marL="2285476" algn="l" defTabSz="914190" rtl="0" eaLnBrk="1" latinLnBrk="0" hangingPunct="1">
      <a:defRPr sz="1200" kern="1200">
        <a:solidFill>
          <a:schemeClr val="tx1"/>
        </a:solidFill>
        <a:latin typeface="+mn-lt"/>
        <a:ea typeface="+mn-ea"/>
        <a:cs typeface="+mn-cs"/>
      </a:defRPr>
    </a:lvl6pPr>
    <a:lvl7pPr marL="2742570" algn="l" defTabSz="914190" rtl="0" eaLnBrk="1" latinLnBrk="0" hangingPunct="1">
      <a:defRPr sz="1200" kern="1200">
        <a:solidFill>
          <a:schemeClr val="tx1"/>
        </a:solidFill>
        <a:latin typeface="+mn-lt"/>
        <a:ea typeface="+mn-ea"/>
        <a:cs typeface="+mn-cs"/>
      </a:defRPr>
    </a:lvl7pPr>
    <a:lvl8pPr marL="3199667" algn="l" defTabSz="914190" rtl="0" eaLnBrk="1" latinLnBrk="0" hangingPunct="1">
      <a:defRPr sz="1200" kern="1200">
        <a:solidFill>
          <a:schemeClr val="tx1"/>
        </a:solidFill>
        <a:latin typeface="+mn-lt"/>
        <a:ea typeface="+mn-ea"/>
        <a:cs typeface="+mn-cs"/>
      </a:defRPr>
    </a:lvl8pPr>
    <a:lvl9pPr marL="3656761" algn="l" defTabSz="91419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685800"/>
            <a:ext cx="5486400" cy="34290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5C6D81E-CAAB-4D0D-951A-FBDD8154145B}" type="slidenum">
              <a:rPr lang="zh-CN" altLang="en-US" smtClean="0"/>
              <a:t>1</a:t>
            </a:fld>
            <a:endParaRPr lang="zh-CN" altLang="en-US"/>
          </a:p>
        </p:txBody>
      </p:sp>
    </p:spTree>
    <p:extLst>
      <p:ext uri="{BB962C8B-B14F-4D97-AF65-F5344CB8AC3E}">
        <p14:creationId xmlns:p14="http://schemas.microsoft.com/office/powerpoint/2010/main" val="2230212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685800"/>
            <a:ext cx="5486400" cy="3429000"/>
          </a:xfrm>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i="1" dirty="0" smtClean="0">
              <a:solidFill>
                <a:schemeClr val="bg1">
                  <a:lumMod val="50000"/>
                </a:schemeClr>
              </a:solidFill>
              <a:latin typeface="微软雅黑" pitchFamily="34" charset="-122"/>
              <a:ea typeface="微软雅黑" pitchFamily="34" charset="-122"/>
              <a:sym typeface="Arial Bold" pitchFamily="34" charset="0"/>
            </a:endParaRPr>
          </a:p>
          <a:p>
            <a:endParaRPr lang="zh-CN" altLang="en-US" dirty="0"/>
          </a:p>
        </p:txBody>
      </p:sp>
      <p:sp>
        <p:nvSpPr>
          <p:cNvPr id="4" name="灯片编号占位符 3"/>
          <p:cNvSpPr>
            <a:spLocks noGrp="1"/>
          </p:cNvSpPr>
          <p:nvPr>
            <p:ph type="sldNum" sz="quarter" idx="10"/>
          </p:nvPr>
        </p:nvSpPr>
        <p:spPr/>
        <p:txBody>
          <a:bodyPr/>
          <a:lstStyle/>
          <a:p>
            <a:fld id="{45C6D81E-CAAB-4D0D-951A-FBDD8154145B}" type="slidenum">
              <a:rPr lang="zh-CN" altLang="en-US" smtClean="0"/>
              <a:pPr/>
              <a:t>5</a:t>
            </a:fld>
            <a:endParaRPr lang="zh-CN" altLang="en-US"/>
          </a:p>
        </p:txBody>
      </p:sp>
    </p:spTree>
    <p:extLst>
      <p:ext uri="{BB962C8B-B14F-4D97-AF65-F5344CB8AC3E}">
        <p14:creationId xmlns:p14="http://schemas.microsoft.com/office/powerpoint/2010/main" val="2390847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5C6D81E-CAAB-4D0D-951A-FBDD8154145B}" type="slidenum">
              <a:rPr lang="zh-CN" altLang="en-US" smtClean="0"/>
              <a:t>19</a:t>
            </a:fld>
            <a:endParaRPr lang="zh-CN" altLang="en-US"/>
          </a:p>
        </p:txBody>
      </p:sp>
    </p:spTree>
    <p:extLst>
      <p:ext uri="{BB962C8B-B14F-4D97-AF65-F5344CB8AC3E}">
        <p14:creationId xmlns:p14="http://schemas.microsoft.com/office/powerpoint/2010/main" val="20908109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775363"/>
            <a:ext cx="7772400" cy="1225021"/>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238500"/>
            <a:ext cx="6400800" cy="1460500"/>
          </a:xfrm>
        </p:spPr>
        <p:txBody>
          <a:bodyPr/>
          <a:lstStyle>
            <a:lvl1pPr marL="0" indent="0" algn="ctr">
              <a:buNone/>
              <a:defRPr>
                <a:solidFill>
                  <a:schemeClr val="tx1">
                    <a:tint val="75000"/>
                  </a:schemeClr>
                </a:solidFill>
              </a:defRPr>
            </a:lvl1pPr>
            <a:lvl2pPr marL="457095" indent="0" algn="ctr">
              <a:buNone/>
              <a:defRPr>
                <a:solidFill>
                  <a:schemeClr val="tx1">
                    <a:tint val="75000"/>
                  </a:schemeClr>
                </a:solidFill>
              </a:defRPr>
            </a:lvl2pPr>
            <a:lvl3pPr marL="914190" indent="0" algn="ctr">
              <a:buNone/>
              <a:defRPr>
                <a:solidFill>
                  <a:schemeClr val="tx1">
                    <a:tint val="75000"/>
                  </a:schemeClr>
                </a:solidFill>
              </a:defRPr>
            </a:lvl3pPr>
            <a:lvl4pPr marL="1371286" indent="0" algn="ctr">
              <a:buNone/>
              <a:defRPr>
                <a:solidFill>
                  <a:schemeClr val="tx1">
                    <a:tint val="75000"/>
                  </a:schemeClr>
                </a:solidFill>
              </a:defRPr>
            </a:lvl4pPr>
            <a:lvl5pPr marL="1828380" indent="0" algn="ctr">
              <a:buNone/>
              <a:defRPr>
                <a:solidFill>
                  <a:schemeClr val="tx1">
                    <a:tint val="75000"/>
                  </a:schemeClr>
                </a:solidFill>
              </a:defRPr>
            </a:lvl5pPr>
            <a:lvl6pPr marL="2285476" indent="0" algn="ctr">
              <a:buNone/>
              <a:defRPr>
                <a:solidFill>
                  <a:schemeClr val="tx1">
                    <a:tint val="75000"/>
                  </a:schemeClr>
                </a:solidFill>
              </a:defRPr>
            </a:lvl6pPr>
            <a:lvl7pPr marL="2742570" indent="0" algn="ctr">
              <a:buNone/>
              <a:defRPr>
                <a:solidFill>
                  <a:schemeClr val="tx1">
                    <a:tint val="75000"/>
                  </a:schemeClr>
                </a:solidFill>
              </a:defRPr>
            </a:lvl7pPr>
            <a:lvl8pPr marL="3199667" indent="0" algn="ctr">
              <a:buNone/>
              <a:defRPr>
                <a:solidFill>
                  <a:schemeClr val="tx1">
                    <a:tint val="75000"/>
                  </a:schemeClr>
                </a:solidFill>
              </a:defRPr>
            </a:lvl8pPr>
            <a:lvl9pPr marL="3656761"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8-12-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5636908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8-12-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481584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90500"/>
            <a:ext cx="2057400" cy="406400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90500"/>
            <a:ext cx="6019800" cy="406400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8-12-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35193660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3441275"/>
      </p:ext>
    </p:extLst>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774825"/>
            <a:ext cx="7772400" cy="1225550"/>
          </a:xfrm>
          <a:prstGeom prst="rect">
            <a:avLst/>
          </a:prstGeom>
        </p:spPr>
        <p:txBody>
          <a:bodyPr lIns="91419" tIns="45709" rIns="91419" bIns="45709"/>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238500"/>
            <a:ext cx="6400800" cy="1460500"/>
          </a:xfrm>
          <a:prstGeom prst="rect">
            <a:avLst/>
          </a:prstGeom>
        </p:spPr>
        <p:txBody>
          <a:bodyPr lIns="91419" tIns="45709" rIns="91419" bIns="45709"/>
          <a:lstStyle>
            <a:lvl1pPr marL="0" indent="0" algn="ctr">
              <a:buNone/>
              <a:defRPr>
                <a:solidFill>
                  <a:schemeClr val="tx1">
                    <a:tint val="75000"/>
                  </a:schemeClr>
                </a:solidFill>
              </a:defRPr>
            </a:lvl1pPr>
            <a:lvl2pPr marL="457095" indent="0" algn="ctr">
              <a:buNone/>
              <a:defRPr>
                <a:solidFill>
                  <a:schemeClr val="tx1">
                    <a:tint val="75000"/>
                  </a:schemeClr>
                </a:solidFill>
              </a:defRPr>
            </a:lvl2pPr>
            <a:lvl3pPr marL="914190" indent="0" algn="ctr">
              <a:buNone/>
              <a:defRPr>
                <a:solidFill>
                  <a:schemeClr val="tx1">
                    <a:tint val="75000"/>
                  </a:schemeClr>
                </a:solidFill>
              </a:defRPr>
            </a:lvl3pPr>
            <a:lvl4pPr marL="1371286" indent="0" algn="ctr">
              <a:buNone/>
              <a:defRPr>
                <a:solidFill>
                  <a:schemeClr val="tx1">
                    <a:tint val="75000"/>
                  </a:schemeClr>
                </a:solidFill>
              </a:defRPr>
            </a:lvl4pPr>
            <a:lvl5pPr marL="1828380" indent="0" algn="ctr">
              <a:buNone/>
              <a:defRPr>
                <a:solidFill>
                  <a:schemeClr val="tx1">
                    <a:tint val="75000"/>
                  </a:schemeClr>
                </a:solidFill>
              </a:defRPr>
            </a:lvl5pPr>
            <a:lvl6pPr marL="2285476" indent="0" algn="ctr">
              <a:buNone/>
              <a:defRPr>
                <a:solidFill>
                  <a:schemeClr val="tx1">
                    <a:tint val="75000"/>
                  </a:schemeClr>
                </a:solidFill>
              </a:defRPr>
            </a:lvl6pPr>
            <a:lvl7pPr marL="2742570" indent="0" algn="ctr">
              <a:buNone/>
              <a:defRPr>
                <a:solidFill>
                  <a:schemeClr val="tx1">
                    <a:tint val="75000"/>
                  </a:schemeClr>
                </a:solidFill>
              </a:defRPr>
            </a:lvl7pPr>
            <a:lvl8pPr marL="3199667" indent="0" algn="ctr">
              <a:buNone/>
              <a:defRPr>
                <a:solidFill>
                  <a:schemeClr val="tx1">
                    <a:tint val="75000"/>
                  </a:schemeClr>
                </a:solidFill>
              </a:defRPr>
            </a:lvl8pPr>
            <a:lvl9pPr marL="3656761"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E71A3236-84DA-4147-8171-BE3579B9CA4C}" type="datetimeFigureOut">
              <a:rPr lang="zh-CN" altLang="en-US" smtClean="0"/>
              <a:t>2018-12-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2ED7C95-C401-49BA-9FBA-A5624923A7DA}" type="slidenum">
              <a:rPr lang="zh-CN" altLang="en-US" smtClean="0"/>
              <a:t>‹#›</a:t>
            </a:fld>
            <a:endParaRPr lang="zh-CN" altLang="en-US"/>
          </a:p>
        </p:txBody>
      </p:sp>
    </p:spTree>
    <p:extLst>
      <p:ext uri="{BB962C8B-B14F-4D97-AF65-F5344CB8AC3E}">
        <p14:creationId xmlns:p14="http://schemas.microsoft.com/office/powerpoint/2010/main" val="39239100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28600"/>
            <a:ext cx="8229600" cy="952500"/>
          </a:xfrm>
          <a:prstGeom prst="rect">
            <a:avLst/>
          </a:prstGeom>
        </p:spPr>
        <p:txBody>
          <a:bodyPr lIns="91419" tIns="45709" rIns="91419" bIns="45709"/>
          <a:lstStyle/>
          <a:p>
            <a:r>
              <a:rPr lang="zh-CN" altLang="en-US" smtClean="0"/>
              <a:t>单击此处编辑母版标题样式</a:t>
            </a:r>
            <a:endParaRPr lang="zh-CN" altLang="en-US"/>
          </a:p>
        </p:txBody>
      </p:sp>
      <p:sp>
        <p:nvSpPr>
          <p:cNvPr id="3" name="内容占位符 2"/>
          <p:cNvSpPr>
            <a:spLocks noGrp="1"/>
          </p:cNvSpPr>
          <p:nvPr>
            <p:ph idx="1"/>
          </p:nvPr>
        </p:nvSpPr>
        <p:spPr>
          <a:xfrm>
            <a:off x="457200" y="1333500"/>
            <a:ext cx="8229600" cy="3771900"/>
          </a:xfrm>
          <a:prstGeom prst="rect">
            <a:avLst/>
          </a:prstGeom>
        </p:spPr>
        <p:txBody>
          <a:bodyPr lIns="91419" tIns="45709" rIns="91419" bIns="45709"/>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E71A3236-84DA-4147-8171-BE3579B9CA4C}" type="datetimeFigureOut">
              <a:rPr lang="zh-CN" altLang="en-US" smtClean="0"/>
              <a:t>2018-12-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2ED7C95-C401-49BA-9FBA-A5624923A7DA}" type="slidenum">
              <a:rPr lang="zh-CN" altLang="en-US" smtClean="0"/>
              <a:t>‹#›</a:t>
            </a:fld>
            <a:endParaRPr lang="zh-CN" altLang="en-US"/>
          </a:p>
        </p:txBody>
      </p:sp>
    </p:spTree>
    <p:extLst>
      <p:ext uri="{BB962C8B-B14F-4D97-AF65-F5344CB8AC3E}">
        <p14:creationId xmlns:p14="http://schemas.microsoft.com/office/powerpoint/2010/main" val="298850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671888"/>
            <a:ext cx="7772400" cy="1135062"/>
          </a:xfrm>
          <a:prstGeom prst="rect">
            <a:avLst/>
          </a:prstGeom>
        </p:spPr>
        <p:txBody>
          <a:bodyPr lIns="91419" tIns="45709" rIns="91419" bIns="45709"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422525"/>
            <a:ext cx="7772400" cy="1249363"/>
          </a:xfrm>
          <a:prstGeom prst="rect">
            <a:avLst/>
          </a:prstGeom>
        </p:spPr>
        <p:txBody>
          <a:bodyPr lIns="91419" tIns="45709" rIns="91419" bIns="45709" anchor="b"/>
          <a:lstStyle>
            <a:lvl1pPr marL="0" indent="0">
              <a:buNone/>
              <a:defRPr sz="2000">
                <a:solidFill>
                  <a:schemeClr val="tx1">
                    <a:tint val="75000"/>
                  </a:schemeClr>
                </a:solidFill>
              </a:defRPr>
            </a:lvl1pPr>
            <a:lvl2pPr marL="457095" indent="0">
              <a:buNone/>
              <a:defRPr sz="1800">
                <a:solidFill>
                  <a:schemeClr val="tx1">
                    <a:tint val="75000"/>
                  </a:schemeClr>
                </a:solidFill>
              </a:defRPr>
            </a:lvl2pPr>
            <a:lvl3pPr marL="914190" indent="0">
              <a:buNone/>
              <a:defRPr sz="1600">
                <a:solidFill>
                  <a:schemeClr val="tx1">
                    <a:tint val="75000"/>
                  </a:schemeClr>
                </a:solidFill>
              </a:defRPr>
            </a:lvl3pPr>
            <a:lvl4pPr marL="1371286" indent="0">
              <a:buNone/>
              <a:defRPr sz="1400">
                <a:solidFill>
                  <a:schemeClr val="tx1">
                    <a:tint val="75000"/>
                  </a:schemeClr>
                </a:solidFill>
              </a:defRPr>
            </a:lvl4pPr>
            <a:lvl5pPr marL="1828380" indent="0">
              <a:buNone/>
              <a:defRPr sz="1400">
                <a:solidFill>
                  <a:schemeClr val="tx1">
                    <a:tint val="75000"/>
                  </a:schemeClr>
                </a:solidFill>
              </a:defRPr>
            </a:lvl5pPr>
            <a:lvl6pPr marL="2285476" indent="0">
              <a:buNone/>
              <a:defRPr sz="1400">
                <a:solidFill>
                  <a:schemeClr val="tx1">
                    <a:tint val="75000"/>
                  </a:schemeClr>
                </a:solidFill>
              </a:defRPr>
            </a:lvl6pPr>
            <a:lvl7pPr marL="2742570" indent="0">
              <a:buNone/>
              <a:defRPr sz="1400">
                <a:solidFill>
                  <a:schemeClr val="tx1">
                    <a:tint val="75000"/>
                  </a:schemeClr>
                </a:solidFill>
              </a:defRPr>
            </a:lvl7pPr>
            <a:lvl8pPr marL="3199667" indent="0">
              <a:buNone/>
              <a:defRPr sz="1400">
                <a:solidFill>
                  <a:schemeClr val="tx1">
                    <a:tint val="75000"/>
                  </a:schemeClr>
                </a:solidFill>
              </a:defRPr>
            </a:lvl8pPr>
            <a:lvl9pPr marL="3656761"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E71A3236-84DA-4147-8171-BE3579B9CA4C}" type="datetimeFigureOut">
              <a:rPr lang="zh-CN" altLang="en-US" smtClean="0"/>
              <a:t>2018-12-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2ED7C95-C401-49BA-9FBA-A5624923A7DA}" type="slidenum">
              <a:rPr lang="zh-CN" altLang="en-US" smtClean="0"/>
              <a:t>‹#›</a:t>
            </a:fld>
            <a:endParaRPr lang="zh-CN" altLang="en-US"/>
          </a:p>
        </p:txBody>
      </p:sp>
    </p:spTree>
    <p:extLst>
      <p:ext uri="{BB962C8B-B14F-4D97-AF65-F5344CB8AC3E}">
        <p14:creationId xmlns:p14="http://schemas.microsoft.com/office/powerpoint/2010/main" val="26273147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28600"/>
            <a:ext cx="8229600" cy="952500"/>
          </a:xfrm>
          <a:prstGeom prst="rect">
            <a:avLst/>
          </a:prstGeom>
        </p:spPr>
        <p:txBody>
          <a:bodyPr lIns="91419" tIns="45709" rIns="91419" bIns="45709"/>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333500"/>
            <a:ext cx="4038600" cy="3771900"/>
          </a:xfrm>
          <a:prstGeom prst="rect">
            <a:avLst/>
          </a:prstGeom>
        </p:spPr>
        <p:txBody>
          <a:bodyPr lIns="91419" tIns="45709" rIns="91419" bIns="45709"/>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333500"/>
            <a:ext cx="4038600" cy="3771900"/>
          </a:xfrm>
          <a:prstGeom prst="rect">
            <a:avLst/>
          </a:prstGeom>
        </p:spPr>
        <p:txBody>
          <a:bodyPr lIns="91419" tIns="45709" rIns="91419" bIns="45709"/>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E71A3236-84DA-4147-8171-BE3579B9CA4C}" type="datetimeFigureOut">
              <a:rPr lang="zh-CN" altLang="en-US" smtClean="0"/>
              <a:t>2018-12-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2ED7C95-C401-49BA-9FBA-A5624923A7DA}" type="slidenum">
              <a:rPr lang="zh-CN" altLang="en-US" smtClean="0"/>
              <a:t>‹#›</a:t>
            </a:fld>
            <a:endParaRPr lang="zh-CN" altLang="en-US"/>
          </a:p>
        </p:txBody>
      </p:sp>
    </p:spTree>
    <p:extLst>
      <p:ext uri="{BB962C8B-B14F-4D97-AF65-F5344CB8AC3E}">
        <p14:creationId xmlns:p14="http://schemas.microsoft.com/office/powerpoint/2010/main" val="38343053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28600"/>
            <a:ext cx="8229600" cy="952500"/>
          </a:xfrm>
          <a:prstGeom prst="rect">
            <a:avLst/>
          </a:prstGeom>
        </p:spPr>
        <p:txBody>
          <a:bodyPr lIns="91419" tIns="45709" rIns="91419" bIns="45709"/>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279525"/>
            <a:ext cx="4040188" cy="533400"/>
          </a:xfrm>
          <a:prstGeom prst="rect">
            <a:avLst/>
          </a:prstGeom>
        </p:spPr>
        <p:txBody>
          <a:bodyPr lIns="91419" tIns="45709" rIns="91419" bIns="45709" anchor="b"/>
          <a:lstStyle>
            <a:lvl1pPr marL="0" indent="0">
              <a:buNone/>
              <a:defRPr sz="2400" b="1"/>
            </a:lvl1pPr>
            <a:lvl2pPr marL="457095" indent="0">
              <a:buNone/>
              <a:defRPr sz="2000" b="1"/>
            </a:lvl2pPr>
            <a:lvl3pPr marL="914190" indent="0">
              <a:buNone/>
              <a:defRPr sz="1800" b="1"/>
            </a:lvl3pPr>
            <a:lvl4pPr marL="1371286" indent="0">
              <a:buNone/>
              <a:defRPr sz="1600" b="1"/>
            </a:lvl4pPr>
            <a:lvl5pPr marL="1828380" indent="0">
              <a:buNone/>
              <a:defRPr sz="1600" b="1"/>
            </a:lvl5pPr>
            <a:lvl6pPr marL="2285476" indent="0">
              <a:buNone/>
              <a:defRPr sz="1600" b="1"/>
            </a:lvl6pPr>
            <a:lvl7pPr marL="2742570" indent="0">
              <a:buNone/>
              <a:defRPr sz="1600" b="1"/>
            </a:lvl7pPr>
            <a:lvl8pPr marL="3199667" indent="0">
              <a:buNone/>
              <a:defRPr sz="1600" b="1"/>
            </a:lvl8pPr>
            <a:lvl9pPr marL="3656761"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812928"/>
            <a:ext cx="4040188" cy="3292475"/>
          </a:xfrm>
          <a:prstGeom prst="rect">
            <a:avLst/>
          </a:prstGeom>
        </p:spPr>
        <p:txBody>
          <a:bodyPr lIns="91419" tIns="45709" rIns="91419" bIns="45709"/>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9" y="1279525"/>
            <a:ext cx="4041775" cy="533400"/>
          </a:xfrm>
          <a:prstGeom prst="rect">
            <a:avLst/>
          </a:prstGeom>
        </p:spPr>
        <p:txBody>
          <a:bodyPr lIns="91419" tIns="45709" rIns="91419" bIns="45709" anchor="b"/>
          <a:lstStyle>
            <a:lvl1pPr marL="0" indent="0">
              <a:buNone/>
              <a:defRPr sz="2400" b="1"/>
            </a:lvl1pPr>
            <a:lvl2pPr marL="457095" indent="0">
              <a:buNone/>
              <a:defRPr sz="2000" b="1"/>
            </a:lvl2pPr>
            <a:lvl3pPr marL="914190" indent="0">
              <a:buNone/>
              <a:defRPr sz="1800" b="1"/>
            </a:lvl3pPr>
            <a:lvl4pPr marL="1371286" indent="0">
              <a:buNone/>
              <a:defRPr sz="1600" b="1"/>
            </a:lvl4pPr>
            <a:lvl5pPr marL="1828380" indent="0">
              <a:buNone/>
              <a:defRPr sz="1600" b="1"/>
            </a:lvl5pPr>
            <a:lvl6pPr marL="2285476" indent="0">
              <a:buNone/>
              <a:defRPr sz="1600" b="1"/>
            </a:lvl6pPr>
            <a:lvl7pPr marL="2742570" indent="0">
              <a:buNone/>
              <a:defRPr sz="1600" b="1"/>
            </a:lvl7pPr>
            <a:lvl8pPr marL="3199667" indent="0">
              <a:buNone/>
              <a:defRPr sz="1600" b="1"/>
            </a:lvl8pPr>
            <a:lvl9pPr marL="3656761"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9" y="1812928"/>
            <a:ext cx="4041775" cy="3292475"/>
          </a:xfrm>
          <a:prstGeom prst="rect">
            <a:avLst/>
          </a:prstGeom>
        </p:spPr>
        <p:txBody>
          <a:bodyPr lIns="91419" tIns="45709" rIns="91419" bIns="45709"/>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E71A3236-84DA-4147-8171-BE3579B9CA4C}" type="datetimeFigureOut">
              <a:rPr lang="zh-CN" altLang="en-US" smtClean="0"/>
              <a:t>2018-12-11</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E2ED7C95-C401-49BA-9FBA-A5624923A7DA}" type="slidenum">
              <a:rPr lang="zh-CN" altLang="en-US" smtClean="0"/>
              <a:t>‹#›</a:t>
            </a:fld>
            <a:endParaRPr lang="zh-CN" altLang="en-US"/>
          </a:p>
        </p:txBody>
      </p:sp>
    </p:spTree>
    <p:extLst>
      <p:ext uri="{BB962C8B-B14F-4D97-AF65-F5344CB8AC3E}">
        <p14:creationId xmlns:p14="http://schemas.microsoft.com/office/powerpoint/2010/main" val="532387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28600"/>
            <a:ext cx="8229600" cy="952500"/>
          </a:xfrm>
          <a:prstGeom prst="rect">
            <a:avLst/>
          </a:prstGeom>
        </p:spPr>
        <p:txBody>
          <a:bodyPr lIns="91419" tIns="45709" rIns="91419" bIns="45709"/>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E71A3236-84DA-4147-8171-BE3579B9CA4C}" type="datetimeFigureOut">
              <a:rPr lang="zh-CN" altLang="en-US" smtClean="0"/>
              <a:t>2018-12-11</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2ED7C95-C401-49BA-9FBA-A5624923A7DA}" type="slidenum">
              <a:rPr lang="zh-CN" altLang="en-US" smtClean="0"/>
              <a:t>‹#›</a:t>
            </a:fld>
            <a:endParaRPr lang="zh-CN" altLang="en-US"/>
          </a:p>
        </p:txBody>
      </p:sp>
    </p:spTree>
    <p:extLst>
      <p:ext uri="{BB962C8B-B14F-4D97-AF65-F5344CB8AC3E}">
        <p14:creationId xmlns:p14="http://schemas.microsoft.com/office/powerpoint/2010/main" val="27185080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E71A3236-84DA-4147-8171-BE3579B9CA4C}" type="datetimeFigureOut">
              <a:rPr lang="zh-CN" altLang="en-US" smtClean="0"/>
              <a:t>2018-12-11</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E2ED7C95-C401-49BA-9FBA-A5624923A7DA}" type="slidenum">
              <a:rPr lang="zh-CN" altLang="en-US" smtClean="0"/>
              <a:t>‹#›</a:t>
            </a:fld>
            <a:endParaRPr lang="zh-CN" altLang="en-US"/>
          </a:p>
        </p:txBody>
      </p:sp>
    </p:spTree>
    <p:extLst>
      <p:ext uri="{BB962C8B-B14F-4D97-AF65-F5344CB8AC3E}">
        <p14:creationId xmlns:p14="http://schemas.microsoft.com/office/powerpoint/2010/main" val="16210729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8-12-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36925345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5" y="227013"/>
            <a:ext cx="3008313" cy="968375"/>
          </a:xfrm>
          <a:prstGeom prst="rect">
            <a:avLst/>
          </a:prstGeom>
        </p:spPr>
        <p:txBody>
          <a:bodyPr lIns="91419" tIns="45709" rIns="91419" bIns="45709"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1" y="227013"/>
            <a:ext cx="5111750" cy="4878387"/>
          </a:xfrm>
          <a:prstGeom prst="rect">
            <a:avLst/>
          </a:prstGeom>
        </p:spPr>
        <p:txBody>
          <a:bodyPr lIns="91419" tIns="45709" rIns="91419" bIns="45709"/>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5" y="1195388"/>
            <a:ext cx="3008313" cy="3910012"/>
          </a:xfrm>
          <a:prstGeom prst="rect">
            <a:avLst/>
          </a:prstGeom>
        </p:spPr>
        <p:txBody>
          <a:bodyPr lIns="91419" tIns="45709" rIns="91419" bIns="45709"/>
          <a:lstStyle>
            <a:lvl1pPr marL="0" indent="0">
              <a:buNone/>
              <a:defRPr sz="1400"/>
            </a:lvl1pPr>
            <a:lvl2pPr marL="457095" indent="0">
              <a:buNone/>
              <a:defRPr sz="1200"/>
            </a:lvl2pPr>
            <a:lvl3pPr marL="914190" indent="0">
              <a:buNone/>
              <a:defRPr sz="1000"/>
            </a:lvl3pPr>
            <a:lvl4pPr marL="1371286" indent="0">
              <a:buNone/>
              <a:defRPr sz="900"/>
            </a:lvl4pPr>
            <a:lvl5pPr marL="1828380" indent="0">
              <a:buNone/>
              <a:defRPr sz="900"/>
            </a:lvl5pPr>
            <a:lvl6pPr marL="2285476" indent="0">
              <a:buNone/>
              <a:defRPr sz="900"/>
            </a:lvl6pPr>
            <a:lvl7pPr marL="2742570" indent="0">
              <a:buNone/>
              <a:defRPr sz="900"/>
            </a:lvl7pPr>
            <a:lvl8pPr marL="3199667" indent="0">
              <a:buNone/>
              <a:defRPr sz="900"/>
            </a:lvl8pPr>
            <a:lvl9pPr marL="3656761"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E71A3236-84DA-4147-8171-BE3579B9CA4C}" type="datetimeFigureOut">
              <a:rPr lang="zh-CN" altLang="en-US" smtClean="0"/>
              <a:t>2018-12-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2ED7C95-C401-49BA-9FBA-A5624923A7DA}" type="slidenum">
              <a:rPr lang="zh-CN" altLang="en-US" smtClean="0"/>
              <a:t>‹#›</a:t>
            </a:fld>
            <a:endParaRPr lang="zh-CN" altLang="en-US"/>
          </a:p>
        </p:txBody>
      </p:sp>
    </p:spTree>
    <p:extLst>
      <p:ext uri="{BB962C8B-B14F-4D97-AF65-F5344CB8AC3E}">
        <p14:creationId xmlns:p14="http://schemas.microsoft.com/office/powerpoint/2010/main" val="6953405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000503"/>
            <a:ext cx="5486400" cy="473075"/>
          </a:xfrm>
          <a:prstGeom prst="rect">
            <a:avLst/>
          </a:prstGeom>
        </p:spPr>
        <p:txBody>
          <a:bodyPr lIns="91419" tIns="45709" rIns="91419" bIns="45709"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511175"/>
            <a:ext cx="5486400" cy="3429000"/>
          </a:xfrm>
          <a:prstGeom prst="rect">
            <a:avLst/>
          </a:prstGeom>
        </p:spPr>
        <p:txBody>
          <a:bodyPr lIns="91419" tIns="45709" rIns="91419" bIns="45709"/>
          <a:lstStyle>
            <a:lvl1pPr marL="0" indent="0">
              <a:buNone/>
              <a:defRPr sz="3200"/>
            </a:lvl1pPr>
            <a:lvl2pPr marL="457095" indent="0">
              <a:buNone/>
              <a:defRPr sz="2800"/>
            </a:lvl2pPr>
            <a:lvl3pPr marL="914190" indent="0">
              <a:buNone/>
              <a:defRPr sz="2400"/>
            </a:lvl3pPr>
            <a:lvl4pPr marL="1371286" indent="0">
              <a:buNone/>
              <a:defRPr sz="2000"/>
            </a:lvl4pPr>
            <a:lvl5pPr marL="1828380" indent="0">
              <a:buNone/>
              <a:defRPr sz="2000"/>
            </a:lvl5pPr>
            <a:lvl6pPr marL="2285476" indent="0">
              <a:buNone/>
              <a:defRPr sz="2000"/>
            </a:lvl6pPr>
            <a:lvl7pPr marL="2742570" indent="0">
              <a:buNone/>
              <a:defRPr sz="2000"/>
            </a:lvl7pPr>
            <a:lvl8pPr marL="3199667" indent="0">
              <a:buNone/>
              <a:defRPr sz="2000"/>
            </a:lvl8pPr>
            <a:lvl9pPr marL="3656761" indent="0">
              <a:buNone/>
              <a:defRPr sz="2000"/>
            </a:lvl9pPr>
          </a:lstStyle>
          <a:p>
            <a:endParaRPr lang="zh-CN" altLang="en-US"/>
          </a:p>
        </p:txBody>
      </p:sp>
      <p:sp>
        <p:nvSpPr>
          <p:cNvPr id="4" name="文本占位符 3"/>
          <p:cNvSpPr>
            <a:spLocks noGrp="1"/>
          </p:cNvSpPr>
          <p:nvPr>
            <p:ph type="body" sz="half" idx="2"/>
          </p:nvPr>
        </p:nvSpPr>
        <p:spPr>
          <a:xfrm>
            <a:off x="1792288" y="4473578"/>
            <a:ext cx="5486400" cy="669925"/>
          </a:xfrm>
          <a:prstGeom prst="rect">
            <a:avLst/>
          </a:prstGeom>
        </p:spPr>
        <p:txBody>
          <a:bodyPr lIns="91419" tIns="45709" rIns="91419" bIns="45709"/>
          <a:lstStyle>
            <a:lvl1pPr marL="0" indent="0">
              <a:buNone/>
              <a:defRPr sz="1400"/>
            </a:lvl1pPr>
            <a:lvl2pPr marL="457095" indent="0">
              <a:buNone/>
              <a:defRPr sz="1200"/>
            </a:lvl2pPr>
            <a:lvl3pPr marL="914190" indent="0">
              <a:buNone/>
              <a:defRPr sz="1000"/>
            </a:lvl3pPr>
            <a:lvl4pPr marL="1371286" indent="0">
              <a:buNone/>
              <a:defRPr sz="900"/>
            </a:lvl4pPr>
            <a:lvl5pPr marL="1828380" indent="0">
              <a:buNone/>
              <a:defRPr sz="900"/>
            </a:lvl5pPr>
            <a:lvl6pPr marL="2285476" indent="0">
              <a:buNone/>
              <a:defRPr sz="900"/>
            </a:lvl6pPr>
            <a:lvl7pPr marL="2742570" indent="0">
              <a:buNone/>
              <a:defRPr sz="900"/>
            </a:lvl7pPr>
            <a:lvl8pPr marL="3199667" indent="0">
              <a:buNone/>
              <a:defRPr sz="900"/>
            </a:lvl8pPr>
            <a:lvl9pPr marL="3656761"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E71A3236-84DA-4147-8171-BE3579B9CA4C}" type="datetimeFigureOut">
              <a:rPr lang="zh-CN" altLang="en-US" smtClean="0"/>
              <a:t>2018-12-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2ED7C95-C401-49BA-9FBA-A5624923A7DA}" type="slidenum">
              <a:rPr lang="zh-CN" altLang="en-US" smtClean="0"/>
              <a:t>‹#›</a:t>
            </a:fld>
            <a:endParaRPr lang="zh-CN" altLang="en-US"/>
          </a:p>
        </p:txBody>
      </p:sp>
    </p:spTree>
    <p:extLst>
      <p:ext uri="{BB962C8B-B14F-4D97-AF65-F5344CB8AC3E}">
        <p14:creationId xmlns:p14="http://schemas.microsoft.com/office/powerpoint/2010/main" val="26378387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28600"/>
            <a:ext cx="8229600" cy="952500"/>
          </a:xfrm>
          <a:prstGeom prst="rect">
            <a:avLst/>
          </a:prstGeom>
        </p:spPr>
        <p:txBody>
          <a:bodyPr lIns="91419" tIns="45709" rIns="91419" bIns="45709"/>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333500"/>
            <a:ext cx="8229600" cy="3771900"/>
          </a:xfrm>
          <a:prstGeom prst="rect">
            <a:avLst/>
          </a:prstGeom>
        </p:spPr>
        <p:txBody>
          <a:bodyPr vert="eaVert" lIns="91419" tIns="45709" rIns="91419" bIns="45709"/>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E71A3236-84DA-4147-8171-BE3579B9CA4C}" type="datetimeFigureOut">
              <a:rPr lang="zh-CN" altLang="en-US" smtClean="0"/>
              <a:t>2018-12-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2ED7C95-C401-49BA-9FBA-A5624923A7DA}" type="slidenum">
              <a:rPr lang="zh-CN" altLang="en-US" smtClean="0"/>
              <a:t>‹#›</a:t>
            </a:fld>
            <a:endParaRPr lang="zh-CN" altLang="en-US"/>
          </a:p>
        </p:txBody>
      </p:sp>
    </p:spTree>
    <p:extLst>
      <p:ext uri="{BB962C8B-B14F-4D97-AF65-F5344CB8AC3E}">
        <p14:creationId xmlns:p14="http://schemas.microsoft.com/office/powerpoint/2010/main" val="16567271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600"/>
            <a:ext cx="2057400" cy="4876800"/>
          </a:xfrm>
          <a:prstGeom prst="rect">
            <a:avLst/>
          </a:prstGeom>
        </p:spPr>
        <p:txBody>
          <a:bodyPr vert="eaVert" lIns="91419" tIns="45709" rIns="91419" bIns="45709"/>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28600"/>
            <a:ext cx="6019800" cy="4876800"/>
          </a:xfrm>
          <a:prstGeom prst="rect">
            <a:avLst/>
          </a:prstGeom>
        </p:spPr>
        <p:txBody>
          <a:bodyPr vert="eaVert" lIns="91419" tIns="45709" rIns="91419" bIns="45709"/>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E71A3236-84DA-4147-8171-BE3579B9CA4C}" type="datetimeFigureOut">
              <a:rPr lang="zh-CN" altLang="en-US" smtClean="0"/>
              <a:t>2018-12-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2ED7C95-C401-49BA-9FBA-A5624923A7DA}" type="slidenum">
              <a:rPr lang="zh-CN" altLang="en-US" smtClean="0"/>
              <a:t>‹#›</a:t>
            </a:fld>
            <a:endParaRPr lang="zh-CN" altLang="en-US"/>
          </a:p>
        </p:txBody>
      </p:sp>
    </p:spTree>
    <p:extLst>
      <p:ext uri="{BB962C8B-B14F-4D97-AF65-F5344CB8AC3E}">
        <p14:creationId xmlns:p14="http://schemas.microsoft.com/office/powerpoint/2010/main" val="38024544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5899811"/>
      </p:ext>
    </p:extLst>
  </p:cSld>
  <p:clrMapOvr>
    <a:masterClrMapping/>
  </p:clrMapOv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lvl1pPr>
              <a:defRPr/>
            </a:lvl1pPr>
          </a:lstStyle>
          <a:p>
            <a:fld id="{A5E53433-B56B-48B6-A195-D080C0C88709}" type="slidenum">
              <a:rPr lang="zh-CN" altLang="en-US" smtClean="0">
                <a:solidFill>
                  <a:srgbClr val="FFFFFF">
                    <a:lumMod val="50000"/>
                  </a:srgbClr>
                </a:solidFill>
              </a:rPr>
              <a:pPr/>
              <a:t>‹#›</a:t>
            </a:fld>
            <a:endParaRPr lang="en-US" altLang="zh-CN" dirty="0">
              <a:solidFill>
                <a:srgbClr val="FFFFFF">
                  <a:lumMod val="50000"/>
                </a:srgbClr>
              </a:solidFill>
            </a:endParaRPr>
          </a:p>
        </p:txBody>
      </p:sp>
      <p:sp>
        <p:nvSpPr>
          <p:cNvPr id="5" name="矩形 4"/>
          <p:cNvSpPr/>
          <p:nvPr userDrawn="1"/>
        </p:nvSpPr>
        <p:spPr bwMode="auto">
          <a:xfrm>
            <a:off x="185051" y="5437789"/>
            <a:ext cx="2658757" cy="277213"/>
          </a:xfrm>
          <a:prstGeom prst="rect">
            <a:avLst/>
          </a:prstGeom>
          <a:solidFill>
            <a:schemeClr val="bg1"/>
          </a:solidFill>
          <a:ln>
            <a:noFill/>
            <a:headEnd type="none" w="med" len="med"/>
            <a:tailEnd type="none" w="med" len="med"/>
          </a:ln>
          <a:effectLst/>
          <a:scene3d>
            <a:camera prst="orthographicFront">
              <a:rot lat="0" lon="0" rev="0"/>
            </a:camera>
            <a:lightRig rig="threePt" dir="t">
              <a:rot lat="0" lon="0" rev="1200000"/>
            </a:lightRig>
          </a:scene3d>
          <a:sp3d/>
          <a:extLst/>
        </p:spPr>
        <p:style>
          <a:lnRef idx="0">
            <a:schemeClr val="accent6"/>
          </a:lnRef>
          <a:fillRef idx="3">
            <a:schemeClr val="accent6"/>
          </a:fillRef>
          <a:effectRef idx="3">
            <a:schemeClr val="accent6"/>
          </a:effectRef>
          <a:fontRef idx="minor">
            <a:schemeClr val="lt1"/>
          </a:fontRef>
        </p:style>
        <p:txBody>
          <a:bodyPr vert="horz" wrap="square" lIns="80981" tIns="40490" rIns="80981" bIns="40490" numCol="1" rtlCol="0" anchor="t" anchorCtr="0" compatLnSpc="1">
            <a:prstTxWarp prst="textNoShape">
              <a:avLst/>
            </a:prstTxWarp>
          </a:bodyPr>
          <a:lstStyle/>
          <a:p>
            <a:pPr defTabSz="809893" fontAlgn="base">
              <a:spcBef>
                <a:spcPct val="0"/>
              </a:spcBef>
              <a:spcAft>
                <a:spcPct val="0"/>
              </a:spcAft>
            </a:pPr>
            <a:endParaRPr lang="zh-CN" altLang="en-US" sz="1100" smtClean="0">
              <a:solidFill>
                <a:srgbClr val="000000"/>
              </a:solidFill>
              <a:sym typeface="Arial Bold" charset="0"/>
            </a:endParaRPr>
          </a:p>
        </p:txBody>
      </p:sp>
    </p:spTree>
    <p:extLst>
      <p:ext uri="{BB962C8B-B14F-4D97-AF65-F5344CB8AC3E}">
        <p14:creationId xmlns:p14="http://schemas.microsoft.com/office/powerpoint/2010/main" val="1815290053"/>
      </p:ext>
    </p:extLst>
  </p:cSld>
  <p:clrMapOvr>
    <a:masterClrMapping/>
  </p:clrMapOv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3673064"/>
            <a:ext cx="7772400" cy="1135063"/>
          </a:xfrm>
        </p:spPr>
        <p:style>
          <a:lnRef idx="0">
            <a:schemeClr val="accent2"/>
          </a:lnRef>
          <a:fillRef idx="3">
            <a:schemeClr val="accent2"/>
          </a:fillRef>
          <a:effectRef idx="3">
            <a:schemeClr val="accent2"/>
          </a:effectRef>
          <a:fontRef idx="none"/>
        </p:style>
        <p:txBody>
          <a:bodyPr/>
          <a:lstStyle>
            <a:lvl1pPr algn="l">
              <a:defRPr sz="2800" b="1" cap="all">
                <a:solidFill>
                  <a:schemeClr val="bg1"/>
                </a:solidFill>
              </a:defRPr>
            </a:lvl1pPr>
          </a:lstStyle>
          <a:p>
            <a:r>
              <a:rPr lang="en-US" smtClean="0"/>
              <a:t>Click to edit Master title style</a:t>
            </a:r>
            <a:endParaRPr lang="en-GB" dirty="0"/>
          </a:p>
        </p:txBody>
      </p:sp>
      <p:sp>
        <p:nvSpPr>
          <p:cNvPr id="3" name="Text Placeholder 2"/>
          <p:cNvSpPr>
            <a:spLocks noGrp="1"/>
          </p:cNvSpPr>
          <p:nvPr>
            <p:ph type="body" idx="1"/>
          </p:nvPr>
        </p:nvSpPr>
        <p:spPr>
          <a:xfrm>
            <a:off x="722435" y="2422269"/>
            <a:ext cx="7772400" cy="1250156"/>
          </a:xfrm>
        </p:spPr>
        <p:txBody>
          <a:bodyPr anchor="b"/>
          <a:lstStyle>
            <a:lvl1pPr marL="0" indent="0">
              <a:buNone/>
              <a:defRPr sz="1800">
                <a:solidFill>
                  <a:srgbClr val="D7191E"/>
                </a:solidFill>
              </a:defRPr>
            </a:lvl1pPr>
            <a:lvl2pPr marL="404946" indent="0">
              <a:buNone/>
              <a:defRPr sz="1600"/>
            </a:lvl2pPr>
            <a:lvl3pPr marL="809893" indent="0">
              <a:buNone/>
              <a:defRPr sz="1400"/>
            </a:lvl3pPr>
            <a:lvl4pPr marL="1214839" indent="0">
              <a:buNone/>
              <a:defRPr sz="1200"/>
            </a:lvl4pPr>
            <a:lvl5pPr marL="1619785" indent="0">
              <a:buNone/>
              <a:defRPr sz="1200"/>
            </a:lvl5pPr>
            <a:lvl6pPr marL="2024735" indent="0">
              <a:buNone/>
              <a:defRPr sz="1200"/>
            </a:lvl6pPr>
            <a:lvl7pPr marL="2429681" indent="0">
              <a:buNone/>
              <a:defRPr sz="1200"/>
            </a:lvl7pPr>
            <a:lvl8pPr marL="2834628" indent="0">
              <a:buNone/>
              <a:defRPr sz="1200"/>
            </a:lvl8pPr>
            <a:lvl9pPr marL="3239575" indent="0">
              <a:buNone/>
              <a:defRPr sz="1200"/>
            </a:lvl9pPr>
          </a:lstStyle>
          <a:p>
            <a:pPr lvl="0"/>
            <a:r>
              <a:rPr lang="en-US" dirty="0"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E4496260-413C-4195-8C0E-2DE1D9475F97}" type="slidenum">
              <a:rPr lang="zh-CN" altLang="en-US" smtClean="0">
                <a:solidFill>
                  <a:srgbClr val="FFFFFF">
                    <a:lumMod val="50000"/>
                  </a:srgbClr>
                </a:solidFill>
              </a:rPr>
              <a:pPr/>
              <a:t>‹#›</a:t>
            </a:fld>
            <a:endParaRPr lang="en-US" altLang="zh-CN">
              <a:solidFill>
                <a:srgbClr val="FFFFFF">
                  <a:lumMod val="50000"/>
                </a:srgbClr>
              </a:solidFill>
            </a:endParaRPr>
          </a:p>
        </p:txBody>
      </p:sp>
    </p:spTree>
    <p:extLst>
      <p:ext uri="{BB962C8B-B14F-4D97-AF65-F5344CB8AC3E}">
        <p14:creationId xmlns:p14="http://schemas.microsoft.com/office/powerpoint/2010/main" val="1640256927"/>
      </p:ext>
    </p:extLst>
  </p:cSld>
  <p:clrMapOvr>
    <a:masterClrMapping/>
  </p:clrMapOv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85200" y="90414"/>
            <a:ext cx="6048695" cy="486833"/>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84704" y="877109"/>
            <a:ext cx="4317023" cy="4620948"/>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2596" y="877109"/>
            <a:ext cx="4317023" cy="4620948"/>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4"/>
          <p:cNvSpPr>
            <a:spLocks noGrp="1"/>
          </p:cNvSpPr>
          <p:nvPr>
            <p:ph type="sldNum" sz="quarter" idx="10"/>
          </p:nvPr>
        </p:nvSpPr>
        <p:spPr/>
        <p:txBody>
          <a:bodyPr/>
          <a:lstStyle>
            <a:lvl1pPr>
              <a:defRPr/>
            </a:lvl1pPr>
          </a:lstStyle>
          <a:p>
            <a:fld id="{CF7646F5-81DB-4FEE-870B-7C58E67FE1CA}" type="slidenum">
              <a:rPr lang="zh-CN" altLang="en-US" smtClean="0">
                <a:solidFill>
                  <a:srgbClr val="FFFFFF">
                    <a:lumMod val="50000"/>
                  </a:srgbClr>
                </a:solidFill>
              </a:rPr>
              <a:pPr/>
              <a:t>‹#›</a:t>
            </a:fld>
            <a:endParaRPr lang="en-US" altLang="zh-CN">
              <a:solidFill>
                <a:srgbClr val="FFFFFF">
                  <a:lumMod val="50000"/>
                </a:srgbClr>
              </a:solidFill>
            </a:endParaRPr>
          </a:p>
        </p:txBody>
      </p:sp>
    </p:spTree>
    <p:extLst>
      <p:ext uri="{BB962C8B-B14F-4D97-AF65-F5344CB8AC3E}">
        <p14:creationId xmlns:p14="http://schemas.microsoft.com/office/powerpoint/2010/main" val="3641313552"/>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85200" y="90414"/>
            <a:ext cx="6048695" cy="486833"/>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84639" y="877168"/>
            <a:ext cx="8774723" cy="222043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185055" y="3157614"/>
            <a:ext cx="8774310" cy="2340509"/>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4"/>
          <p:cNvSpPr>
            <a:spLocks noGrp="1"/>
          </p:cNvSpPr>
          <p:nvPr>
            <p:ph type="sldNum" sz="quarter" idx="10"/>
          </p:nvPr>
        </p:nvSpPr>
        <p:spPr/>
        <p:txBody>
          <a:bodyPr/>
          <a:lstStyle>
            <a:lvl1pPr>
              <a:defRPr/>
            </a:lvl1pPr>
          </a:lstStyle>
          <a:p>
            <a:fld id="{CF7646F5-81DB-4FEE-870B-7C58E67FE1CA}" type="slidenum">
              <a:rPr lang="zh-CN" altLang="en-US" smtClean="0">
                <a:solidFill>
                  <a:srgbClr val="FFFFFF">
                    <a:lumMod val="50000"/>
                  </a:srgbClr>
                </a:solidFill>
              </a:rPr>
              <a:pPr/>
              <a:t>‹#›</a:t>
            </a:fld>
            <a:endParaRPr lang="en-US" altLang="zh-CN">
              <a:solidFill>
                <a:srgbClr val="FFFFFF">
                  <a:lumMod val="50000"/>
                </a:srgbClr>
              </a:solidFill>
            </a:endParaRPr>
          </a:p>
        </p:txBody>
      </p:sp>
    </p:spTree>
    <p:extLst>
      <p:ext uri="{BB962C8B-B14F-4D97-AF65-F5344CB8AC3E}">
        <p14:creationId xmlns:p14="http://schemas.microsoft.com/office/powerpoint/2010/main" val="2675408961"/>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85200" y="90414"/>
            <a:ext cx="6048695" cy="486833"/>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84813" y="877168"/>
            <a:ext cx="4320893" cy="222043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185055" y="3157614"/>
            <a:ext cx="8774310" cy="2340509"/>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4"/>
          <p:cNvSpPr>
            <a:spLocks noGrp="1"/>
          </p:cNvSpPr>
          <p:nvPr>
            <p:ph type="sldNum" sz="quarter" idx="10"/>
          </p:nvPr>
        </p:nvSpPr>
        <p:spPr/>
        <p:txBody>
          <a:bodyPr/>
          <a:lstStyle>
            <a:lvl1pPr>
              <a:defRPr/>
            </a:lvl1pPr>
          </a:lstStyle>
          <a:p>
            <a:fld id="{CF7646F5-81DB-4FEE-870B-7C58E67FE1CA}" type="slidenum">
              <a:rPr lang="zh-CN" altLang="en-US" smtClean="0">
                <a:solidFill>
                  <a:srgbClr val="FFFFFF">
                    <a:lumMod val="50000"/>
                  </a:srgbClr>
                </a:solidFill>
              </a:rPr>
              <a:pPr/>
              <a:t>‹#›</a:t>
            </a:fld>
            <a:endParaRPr lang="en-US" altLang="zh-CN">
              <a:solidFill>
                <a:srgbClr val="FFFFFF">
                  <a:lumMod val="50000"/>
                </a:srgbClr>
              </a:solidFill>
            </a:endParaRPr>
          </a:p>
        </p:txBody>
      </p:sp>
      <p:sp>
        <p:nvSpPr>
          <p:cNvPr id="6" name="Content Placeholder 2"/>
          <p:cNvSpPr>
            <a:spLocks noGrp="1"/>
          </p:cNvSpPr>
          <p:nvPr>
            <p:ph sz="half" idx="11"/>
          </p:nvPr>
        </p:nvSpPr>
        <p:spPr>
          <a:xfrm>
            <a:off x="4638129" y="877355"/>
            <a:ext cx="4320893" cy="222043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669495303"/>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672419"/>
            <a:ext cx="7772400" cy="1135063"/>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422261"/>
            <a:ext cx="7772400" cy="1250156"/>
          </a:xfrm>
        </p:spPr>
        <p:txBody>
          <a:bodyPr anchor="b"/>
          <a:lstStyle>
            <a:lvl1pPr marL="0" indent="0">
              <a:buNone/>
              <a:defRPr sz="2000">
                <a:solidFill>
                  <a:schemeClr val="tx1">
                    <a:tint val="75000"/>
                  </a:schemeClr>
                </a:solidFill>
              </a:defRPr>
            </a:lvl1pPr>
            <a:lvl2pPr marL="457095" indent="0">
              <a:buNone/>
              <a:defRPr sz="1800">
                <a:solidFill>
                  <a:schemeClr val="tx1">
                    <a:tint val="75000"/>
                  </a:schemeClr>
                </a:solidFill>
              </a:defRPr>
            </a:lvl2pPr>
            <a:lvl3pPr marL="914190" indent="0">
              <a:buNone/>
              <a:defRPr sz="1600">
                <a:solidFill>
                  <a:schemeClr val="tx1">
                    <a:tint val="75000"/>
                  </a:schemeClr>
                </a:solidFill>
              </a:defRPr>
            </a:lvl3pPr>
            <a:lvl4pPr marL="1371286" indent="0">
              <a:buNone/>
              <a:defRPr sz="1400">
                <a:solidFill>
                  <a:schemeClr val="tx1">
                    <a:tint val="75000"/>
                  </a:schemeClr>
                </a:solidFill>
              </a:defRPr>
            </a:lvl4pPr>
            <a:lvl5pPr marL="1828380" indent="0">
              <a:buNone/>
              <a:defRPr sz="1400">
                <a:solidFill>
                  <a:schemeClr val="tx1">
                    <a:tint val="75000"/>
                  </a:schemeClr>
                </a:solidFill>
              </a:defRPr>
            </a:lvl5pPr>
            <a:lvl6pPr marL="2285476" indent="0">
              <a:buNone/>
              <a:defRPr sz="1400">
                <a:solidFill>
                  <a:schemeClr val="tx1">
                    <a:tint val="75000"/>
                  </a:schemeClr>
                </a:solidFill>
              </a:defRPr>
            </a:lvl6pPr>
            <a:lvl7pPr marL="2742570" indent="0">
              <a:buNone/>
              <a:defRPr sz="1400">
                <a:solidFill>
                  <a:schemeClr val="tx1">
                    <a:tint val="75000"/>
                  </a:schemeClr>
                </a:solidFill>
              </a:defRPr>
            </a:lvl7pPr>
            <a:lvl8pPr marL="3199667" indent="0">
              <a:buNone/>
              <a:defRPr sz="1400">
                <a:solidFill>
                  <a:schemeClr val="tx1">
                    <a:tint val="75000"/>
                  </a:schemeClr>
                </a:solidFill>
              </a:defRPr>
            </a:lvl8pPr>
            <a:lvl9pPr marL="3656761"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18-12-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17301100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84640" y="96655"/>
            <a:ext cx="8502162" cy="480219"/>
          </a:xfrm>
        </p:spPr>
        <p:txBody>
          <a:bodyPr/>
          <a:lstStyle>
            <a:lvl1pPr>
              <a:defRPr/>
            </a:lvl1pPr>
          </a:lstStyle>
          <a:p>
            <a:r>
              <a:rPr lang="en-US" smtClean="0"/>
              <a:t>Click to edit Master title style</a:t>
            </a:r>
            <a:endParaRPr lang="en-GB" dirty="0"/>
          </a:p>
        </p:txBody>
      </p:sp>
      <p:sp>
        <p:nvSpPr>
          <p:cNvPr id="3" name="Text Placeholder 2"/>
          <p:cNvSpPr>
            <a:spLocks noGrp="1"/>
          </p:cNvSpPr>
          <p:nvPr>
            <p:ph type="body" idx="1"/>
          </p:nvPr>
        </p:nvSpPr>
        <p:spPr>
          <a:xfrm>
            <a:off x="184790" y="877480"/>
            <a:ext cx="4312627" cy="533136"/>
          </a:xfrm>
        </p:spPr>
        <p:txBody>
          <a:bodyPr anchor="t" anchorCtr="0"/>
          <a:lstStyle>
            <a:lvl1pPr marL="0" indent="0" algn="ctr">
              <a:buNone/>
              <a:defRPr sz="2000" b="0"/>
            </a:lvl1pPr>
            <a:lvl2pPr marL="404946" indent="0">
              <a:buNone/>
              <a:defRPr sz="1800" b="1"/>
            </a:lvl2pPr>
            <a:lvl3pPr marL="809893" indent="0">
              <a:buNone/>
              <a:defRPr sz="1600" b="1"/>
            </a:lvl3pPr>
            <a:lvl4pPr marL="1214839" indent="0">
              <a:buNone/>
              <a:defRPr sz="1400" b="1"/>
            </a:lvl4pPr>
            <a:lvl5pPr marL="1619785" indent="0">
              <a:buNone/>
              <a:defRPr sz="1400" b="1"/>
            </a:lvl5pPr>
            <a:lvl6pPr marL="2024735" indent="0">
              <a:buNone/>
              <a:defRPr sz="1400" b="1"/>
            </a:lvl6pPr>
            <a:lvl7pPr marL="2429681" indent="0">
              <a:buNone/>
              <a:defRPr sz="1400" b="1"/>
            </a:lvl7pPr>
            <a:lvl8pPr marL="2834628" indent="0">
              <a:buNone/>
              <a:defRPr sz="1400" b="1"/>
            </a:lvl8pPr>
            <a:lvl9pPr marL="3239575" indent="0">
              <a:buNone/>
              <a:defRPr sz="1400" b="1"/>
            </a:lvl9pPr>
          </a:lstStyle>
          <a:p>
            <a:pPr lvl="0"/>
            <a:r>
              <a:rPr lang="en-US" smtClean="0"/>
              <a:t>Click to edit Master text styles</a:t>
            </a:r>
          </a:p>
        </p:txBody>
      </p:sp>
      <p:sp>
        <p:nvSpPr>
          <p:cNvPr id="4" name="Content Placeholder 3"/>
          <p:cNvSpPr>
            <a:spLocks noGrp="1"/>
          </p:cNvSpPr>
          <p:nvPr>
            <p:ph sz="half" idx="2"/>
          </p:nvPr>
        </p:nvSpPr>
        <p:spPr>
          <a:xfrm>
            <a:off x="184790" y="1417340"/>
            <a:ext cx="4312627" cy="4080703"/>
          </a:xfrm>
        </p:spPr>
        <p:txBody>
          <a:bodyPr/>
          <a:lstStyle>
            <a:lvl1pPr>
              <a:defRPr sz="1600"/>
            </a:lvl1pPr>
            <a:lvl2pPr>
              <a:defRPr sz="1400"/>
            </a:lvl2pPr>
            <a:lvl3pPr>
              <a:defRPr sz="1200"/>
            </a:lvl3pPr>
            <a:lvl4pPr>
              <a:defRPr sz="1100"/>
            </a:lvl4pPr>
            <a:lvl5pPr>
              <a:defRPr sz="11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 Placeholder 4"/>
          <p:cNvSpPr>
            <a:spLocks noGrp="1"/>
          </p:cNvSpPr>
          <p:nvPr>
            <p:ph type="body" sz="quarter" idx="3"/>
          </p:nvPr>
        </p:nvSpPr>
        <p:spPr>
          <a:xfrm>
            <a:off x="4645269" y="877480"/>
            <a:ext cx="4314092" cy="533136"/>
          </a:xfrm>
        </p:spPr>
        <p:txBody>
          <a:bodyPr anchor="t" anchorCtr="0"/>
          <a:lstStyle>
            <a:lvl1pPr marL="0" indent="0" algn="ctr">
              <a:buNone/>
              <a:defRPr sz="2000" b="0"/>
            </a:lvl1pPr>
            <a:lvl2pPr marL="404946" indent="0">
              <a:buNone/>
              <a:defRPr sz="1800" b="1"/>
            </a:lvl2pPr>
            <a:lvl3pPr marL="809893" indent="0">
              <a:buNone/>
              <a:defRPr sz="1600" b="1"/>
            </a:lvl3pPr>
            <a:lvl4pPr marL="1214839" indent="0">
              <a:buNone/>
              <a:defRPr sz="1400" b="1"/>
            </a:lvl4pPr>
            <a:lvl5pPr marL="1619785" indent="0">
              <a:buNone/>
              <a:defRPr sz="1400" b="1"/>
            </a:lvl5pPr>
            <a:lvl6pPr marL="2024735" indent="0">
              <a:buNone/>
              <a:defRPr sz="1400" b="1"/>
            </a:lvl6pPr>
            <a:lvl7pPr marL="2429681" indent="0">
              <a:buNone/>
              <a:defRPr sz="1400" b="1"/>
            </a:lvl7pPr>
            <a:lvl8pPr marL="2834628" indent="0">
              <a:buNone/>
              <a:defRPr sz="1400" b="1"/>
            </a:lvl8pPr>
            <a:lvl9pPr marL="3239575" indent="0">
              <a:buNone/>
              <a:defRPr sz="1400" b="1"/>
            </a:lvl9pPr>
          </a:lstStyle>
          <a:p>
            <a:pPr lvl="0"/>
            <a:r>
              <a:rPr lang="en-US" smtClean="0"/>
              <a:t>Click to edit Master text styles</a:t>
            </a:r>
          </a:p>
        </p:txBody>
      </p:sp>
      <p:sp>
        <p:nvSpPr>
          <p:cNvPr id="6" name="Content Placeholder 5"/>
          <p:cNvSpPr>
            <a:spLocks noGrp="1"/>
          </p:cNvSpPr>
          <p:nvPr>
            <p:ph sz="quarter" idx="4"/>
          </p:nvPr>
        </p:nvSpPr>
        <p:spPr>
          <a:xfrm>
            <a:off x="4645269" y="1417340"/>
            <a:ext cx="4314092" cy="4080703"/>
          </a:xfrm>
        </p:spPr>
        <p:txBody>
          <a:bodyPr/>
          <a:lstStyle>
            <a:lvl1pPr>
              <a:defRPr sz="1600"/>
            </a:lvl1pPr>
            <a:lvl2pPr>
              <a:defRPr sz="1400"/>
            </a:lvl2pPr>
            <a:lvl3pPr>
              <a:defRPr sz="1200"/>
            </a:lvl3pPr>
            <a:lvl4pPr>
              <a:defRPr sz="1100"/>
            </a:lvl4pPr>
            <a:lvl5pPr>
              <a:defRPr sz="11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Slide Number Placeholder 6"/>
          <p:cNvSpPr>
            <a:spLocks noGrp="1"/>
          </p:cNvSpPr>
          <p:nvPr>
            <p:ph type="sldNum" sz="quarter" idx="10"/>
          </p:nvPr>
        </p:nvSpPr>
        <p:spPr/>
        <p:txBody>
          <a:bodyPr/>
          <a:lstStyle>
            <a:lvl1pPr>
              <a:defRPr/>
            </a:lvl1pPr>
          </a:lstStyle>
          <a:p>
            <a:fld id="{BFA556A6-047A-47C1-B3BB-7D9BC26C9B74}" type="slidenum">
              <a:rPr lang="zh-CN" altLang="en-US" smtClean="0">
                <a:solidFill>
                  <a:srgbClr val="FFFFFF">
                    <a:lumMod val="50000"/>
                  </a:srgbClr>
                </a:solidFill>
              </a:rPr>
              <a:pPr/>
              <a:t>‹#›</a:t>
            </a:fld>
            <a:endParaRPr lang="en-US" altLang="zh-CN">
              <a:solidFill>
                <a:srgbClr val="FFFFFF">
                  <a:lumMod val="50000"/>
                </a:srgbClr>
              </a:solidFill>
            </a:endParaRPr>
          </a:p>
        </p:txBody>
      </p:sp>
    </p:spTree>
    <p:extLst>
      <p:ext uri="{BB962C8B-B14F-4D97-AF65-F5344CB8AC3E}">
        <p14:creationId xmlns:p14="http://schemas.microsoft.com/office/powerpoint/2010/main" val="2851918598"/>
      </p:ext>
    </p:extLst>
  </p:cSld>
  <p:clrMapOvr>
    <a:masterClrMapping/>
  </p:clrMapOv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85670" y="90414"/>
            <a:ext cx="6180992" cy="486833"/>
          </a:xfrm>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lvl1pPr>
              <a:defRPr/>
            </a:lvl1pPr>
          </a:lstStyle>
          <a:p>
            <a:fld id="{80235C7F-5BF7-4E1A-833B-C8D6C9530821}" type="slidenum">
              <a:rPr lang="zh-CN" altLang="en-US" smtClean="0">
                <a:solidFill>
                  <a:srgbClr val="FFFFFF">
                    <a:lumMod val="50000"/>
                  </a:srgbClr>
                </a:solidFill>
              </a:rPr>
              <a:pPr/>
              <a:t>‹#›</a:t>
            </a:fld>
            <a:endParaRPr lang="en-US" altLang="zh-CN">
              <a:solidFill>
                <a:srgbClr val="FFFFFF">
                  <a:lumMod val="50000"/>
                </a:srgbClr>
              </a:solidFill>
            </a:endParaRPr>
          </a:p>
        </p:txBody>
      </p:sp>
    </p:spTree>
    <p:extLst>
      <p:ext uri="{BB962C8B-B14F-4D97-AF65-F5344CB8AC3E}">
        <p14:creationId xmlns:p14="http://schemas.microsoft.com/office/powerpoint/2010/main" val="3607935744"/>
      </p:ext>
    </p:extLst>
  </p:cSld>
  <p:clrMapOvr>
    <a:masterClrMapping/>
  </p:clrMapOv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85200" y="90414"/>
            <a:ext cx="6048695" cy="486833"/>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84813" y="877168"/>
            <a:ext cx="4320893" cy="222043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185055" y="3157614"/>
            <a:ext cx="8774310" cy="2340509"/>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4"/>
          <p:cNvSpPr>
            <a:spLocks noGrp="1"/>
          </p:cNvSpPr>
          <p:nvPr>
            <p:ph type="sldNum" sz="quarter" idx="10"/>
          </p:nvPr>
        </p:nvSpPr>
        <p:spPr/>
        <p:txBody>
          <a:bodyPr/>
          <a:lstStyle>
            <a:lvl1pPr>
              <a:defRPr/>
            </a:lvl1pPr>
          </a:lstStyle>
          <a:p>
            <a:fld id="{CF7646F5-81DB-4FEE-870B-7C58E67FE1CA}" type="slidenum">
              <a:rPr lang="zh-CN" altLang="en-US">
                <a:solidFill>
                  <a:srgbClr val="FFFFFF">
                    <a:lumMod val="50000"/>
                  </a:srgbClr>
                </a:solidFill>
              </a:rPr>
              <a:pPr/>
              <a:t>‹#›</a:t>
            </a:fld>
            <a:endParaRPr lang="en-US" altLang="zh-CN">
              <a:solidFill>
                <a:srgbClr val="FFFFFF">
                  <a:lumMod val="50000"/>
                </a:srgbClr>
              </a:solidFill>
            </a:endParaRPr>
          </a:p>
        </p:txBody>
      </p:sp>
      <p:sp>
        <p:nvSpPr>
          <p:cNvPr id="6" name="Content Placeholder 2"/>
          <p:cNvSpPr>
            <a:spLocks noGrp="1"/>
          </p:cNvSpPr>
          <p:nvPr>
            <p:ph sz="half" idx="11"/>
          </p:nvPr>
        </p:nvSpPr>
        <p:spPr>
          <a:xfrm>
            <a:off x="4638129" y="877355"/>
            <a:ext cx="4320893" cy="2220433"/>
          </a:xfrm>
        </p:spPr>
        <p:txBody>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857643752"/>
      </p:ext>
    </p:extLst>
  </p:cSld>
  <p:clrMapOvr>
    <a:masterClrMapping/>
  </p:clrMapOvr>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9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661600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pic>
        <p:nvPicPr>
          <p:cNvPr id="2" name="图片 5"/>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灯片编号占位符 5"/>
          <p:cNvSpPr>
            <a:spLocks noGrp="1" noChangeArrowheads="1"/>
          </p:cNvSpPr>
          <p:nvPr>
            <p:ph type="sldNum" sz="quarter" idx="10"/>
          </p:nvPr>
        </p:nvSpPr>
        <p:spPr>
          <a:xfrm>
            <a:off x="6804025" y="5349405"/>
            <a:ext cx="2133600" cy="304271"/>
          </a:xfrm>
        </p:spPr>
        <p:txBody>
          <a:bodyPr/>
          <a:lstStyle>
            <a:lvl1pPr>
              <a:defRPr/>
            </a:lvl1pPr>
          </a:lstStyle>
          <a:p>
            <a:pPr>
              <a:defRPr/>
            </a:pPr>
            <a:fld id="{71FEE1CC-52A8-4020-8D04-048B0CA84CFF}" type="slidenum">
              <a:rPr lang="zh-CN" altLang="en-US">
                <a:solidFill>
                  <a:srgbClr val="FFFFFF">
                    <a:lumMod val="50000"/>
                  </a:srgbClr>
                </a:solidFill>
              </a:rPr>
              <a:pPr>
                <a:defRPr/>
              </a:pPr>
              <a:t>‹#›</a:t>
            </a:fld>
            <a:endParaRPr lang="zh-CN" altLang="en-US" sz="1900">
              <a:solidFill>
                <a:srgbClr val="000000"/>
              </a:solidFill>
            </a:endParaRPr>
          </a:p>
        </p:txBody>
      </p:sp>
    </p:spTree>
    <p:extLst>
      <p:ext uri="{BB962C8B-B14F-4D97-AF65-F5344CB8AC3E}">
        <p14:creationId xmlns:p14="http://schemas.microsoft.com/office/powerpoint/2010/main" val="35288615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pic>
        <p:nvPicPr>
          <p:cNvPr id="2" name="图片 5"/>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灯片编号占位符 5"/>
          <p:cNvSpPr>
            <a:spLocks noGrp="1" noChangeArrowheads="1"/>
          </p:cNvSpPr>
          <p:nvPr>
            <p:ph type="sldNum" sz="quarter" idx="10"/>
          </p:nvPr>
        </p:nvSpPr>
        <p:spPr>
          <a:xfrm>
            <a:off x="6804025" y="5349405"/>
            <a:ext cx="2133600" cy="304271"/>
          </a:xfrm>
        </p:spPr>
        <p:txBody>
          <a:bodyPr/>
          <a:lstStyle>
            <a:lvl1pPr>
              <a:defRPr/>
            </a:lvl1pPr>
          </a:lstStyle>
          <a:p>
            <a:pPr>
              <a:defRPr/>
            </a:pPr>
            <a:fld id="{A1909253-9ED4-460D-853F-E2A6700C9AF3}" type="slidenum">
              <a:rPr lang="zh-CN" altLang="en-US">
                <a:solidFill>
                  <a:srgbClr val="FFFFFF">
                    <a:lumMod val="50000"/>
                  </a:srgbClr>
                </a:solidFill>
              </a:rPr>
              <a:pPr>
                <a:defRPr/>
              </a:pPr>
              <a:t>‹#›</a:t>
            </a:fld>
            <a:endParaRPr lang="zh-CN" altLang="en-US" sz="1900">
              <a:solidFill>
                <a:srgbClr val="000000"/>
              </a:solidFill>
            </a:endParaRPr>
          </a:p>
        </p:txBody>
      </p:sp>
    </p:spTree>
    <p:extLst>
      <p:ext uri="{BB962C8B-B14F-4D97-AF65-F5344CB8AC3E}">
        <p14:creationId xmlns:p14="http://schemas.microsoft.com/office/powerpoint/2010/main" val="9834594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Cover Page">
    <p:spTree>
      <p:nvGrpSpPr>
        <p:cNvPr id="1" name=""/>
        <p:cNvGrpSpPr/>
        <p:nvPr/>
      </p:nvGrpSpPr>
      <p:grpSpPr>
        <a:xfrm>
          <a:off x="0" y="0"/>
          <a:ext cx="0" cy="0"/>
          <a:chOff x="0" y="0"/>
          <a:chExt cx="0" cy="0"/>
        </a:xfrm>
      </p:grpSpPr>
      <p:sp>
        <p:nvSpPr>
          <p:cNvPr id="2" name="Slide Number"/>
          <p:cNvSpPr txBox="1">
            <a:spLocks noChangeArrowheads="1"/>
          </p:cNvSpPr>
          <p:nvPr userDrawn="1">
            <p:custDataLst>
              <p:tags r:id="rId1"/>
            </p:custDataLst>
          </p:nvPr>
        </p:nvSpPr>
        <p:spPr bwMode="auto">
          <a:xfrm>
            <a:off x="8638443" y="5505980"/>
            <a:ext cx="187552" cy="184666"/>
          </a:xfrm>
          <a:prstGeom prst="rect">
            <a:avLst/>
          </a:prstGeom>
          <a:noFill/>
          <a:ln w="9525">
            <a:noFill/>
            <a:miter lim="800000"/>
            <a:headEnd/>
            <a:tailEnd/>
          </a:ln>
          <a:effectLst/>
        </p:spPr>
        <p:txBody>
          <a:bodyPr wrap="none" lIns="0" tIns="0" rIns="0" bIns="0">
            <a:spAutoFit/>
          </a:bodyPr>
          <a:lstStyle>
            <a:lvl1pPr>
              <a:defRPr sz="1300" b="1">
                <a:solidFill>
                  <a:schemeClr val="tx1"/>
                </a:solidFill>
                <a:latin typeface="Arial" charset="0"/>
                <a:ea typeface="宋体" charset="-122"/>
              </a:defRPr>
            </a:lvl1pPr>
            <a:lvl2pPr marL="742950" indent="-285750">
              <a:defRPr sz="1300" b="1">
                <a:solidFill>
                  <a:schemeClr val="tx1"/>
                </a:solidFill>
                <a:latin typeface="Arial" charset="0"/>
                <a:ea typeface="宋体" charset="-122"/>
              </a:defRPr>
            </a:lvl2pPr>
            <a:lvl3pPr marL="1143000" indent="-228600">
              <a:defRPr sz="1300" b="1">
                <a:solidFill>
                  <a:schemeClr val="tx1"/>
                </a:solidFill>
                <a:latin typeface="Arial" charset="0"/>
                <a:ea typeface="宋体" charset="-122"/>
              </a:defRPr>
            </a:lvl3pPr>
            <a:lvl4pPr marL="1600200" indent="-228600">
              <a:defRPr sz="1300" b="1">
                <a:solidFill>
                  <a:schemeClr val="tx1"/>
                </a:solidFill>
                <a:latin typeface="Arial" charset="0"/>
                <a:ea typeface="宋体" charset="-122"/>
              </a:defRPr>
            </a:lvl4pPr>
            <a:lvl5pPr marL="2057400" indent="-228600">
              <a:defRPr sz="1300" b="1">
                <a:solidFill>
                  <a:schemeClr val="tx1"/>
                </a:solidFill>
                <a:latin typeface="Arial" charset="0"/>
                <a:ea typeface="宋体" charset="-122"/>
              </a:defRPr>
            </a:lvl5pPr>
            <a:lvl6pPr marL="2514600" indent="-228600" fontAlgn="base">
              <a:spcBef>
                <a:spcPct val="0"/>
              </a:spcBef>
              <a:spcAft>
                <a:spcPct val="0"/>
              </a:spcAft>
              <a:defRPr sz="1300" b="1">
                <a:solidFill>
                  <a:schemeClr val="tx1"/>
                </a:solidFill>
                <a:latin typeface="Arial" charset="0"/>
                <a:ea typeface="宋体" charset="-122"/>
              </a:defRPr>
            </a:lvl6pPr>
            <a:lvl7pPr marL="2971800" indent="-228600" fontAlgn="base">
              <a:spcBef>
                <a:spcPct val="0"/>
              </a:spcBef>
              <a:spcAft>
                <a:spcPct val="0"/>
              </a:spcAft>
              <a:defRPr sz="1300" b="1">
                <a:solidFill>
                  <a:schemeClr val="tx1"/>
                </a:solidFill>
                <a:latin typeface="Arial" charset="0"/>
                <a:ea typeface="宋体" charset="-122"/>
              </a:defRPr>
            </a:lvl7pPr>
            <a:lvl8pPr marL="3429000" indent="-228600" fontAlgn="base">
              <a:spcBef>
                <a:spcPct val="0"/>
              </a:spcBef>
              <a:spcAft>
                <a:spcPct val="0"/>
              </a:spcAft>
              <a:defRPr sz="1300" b="1">
                <a:solidFill>
                  <a:schemeClr val="tx1"/>
                </a:solidFill>
                <a:latin typeface="Arial" charset="0"/>
                <a:ea typeface="宋体" charset="-122"/>
              </a:defRPr>
            </a:lvl8pPr>
            <a:lvl9pPr marL="3886200" indent="-228600" fontAlgn="base">
              <a:spcBef>
                <a:spcPct val="0"/>
              </a:spcBef>
              <a:spcAft>
                <a:spcPct val="0"/>
              </a:spcAft>
              <a:defRPr sz="1300" b="1">
                <a:solidFill>
                  <a:schemeClr val="tx1"/>
                </a:solidFill>
                <a:latin typeface="Arial" charset="0"/>
                <a:ea typeface="宋体" charset="-122"/>
              </a:defRPr>
            </a:lvl9pPr>
          </a:lstStyle>
          <a:p>
            <a:pPr fontAlgn="base">
              <a:spcBef>
                <a:spcPct val="0"/>
              </a:spcBef>
              <a:spcAft>
                <a:spcPct val="0"/>
              </a:spcAft>
              <a:defRPr/>
            </a:pPr>
            <a:fld id="{5EA150C5-6496-46D6-B51B-93DD044A7F69}" type="slidenum">
              <a:rPr lang="en-US" altLang="zh-CN" sz="1200" b="0" smtClean="0">
                <a:solidFill>
                  <a:srgbClr val="000000"/>
                </a:solidFill>
                <a:cs typeface="Arial" charset="0"/>
                <a:sym typeface="Arial Bold" charset="0"/>
              </a:rPr>
              <a:pPr fontAlgn="base">
                <a:spcBef>
                  <a:spcPct val="0"/>
                </a:spcBef>
                <a:spcAft>
                  <a:spcPct val="0"/>
                </a:spcAft>
                <a:defRPr/>
              </a:pPr>
              <a:t>‹#›</a:t>
            </a:fld>
            <a:endParaRPr lang="en-US" altLang="zh-CN" sz="1200" b="0" dirty="0" smtClean="0">
              <a:solidFill>
                <a:srgbClr val="000000"/>
              </a:solidFill>
              <a:cs typeface="Arial" charset="0"/>
              <a:sym typeface="Arial Bold" charset="0"/>
            </a:endParaRPr>
          </a:p>
        </p:txBody>
      </p:sp>
      <p:pic>
        <p:nvPicPr>
          <p:cNvPr id="6" name="图片 5"/>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09954" y="19"/>
            <a:ext cx="8634046" cy="697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3008466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cSld name="2_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775364"/>
            <a:ext cx="7772400" cy="1225021"/>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238500"/>
            <a:ext cx="6400800" cy="1460500"/>
          </a:xfrm>
        </p:spPr>
        <p:txBody>
          <a:bodyPr/>
          <a:lstStyle>
            <a:lvl1pPr marL="0" indent="0" algn="ctr">
              <a:buNone/>
              <a:defRPr>
                <a:solidFill>
                  <a:schemeClr val="tx1">
                    <a:tint val="75000"/>
                  </a:schemeClr>
                </a:solidFill>
              </a:defRPr>
            </a:lvl1pPr>
            <a:lvl2pPr marL="457060" indent="0" algn="ctr">
              <a:buNone/>
              <a:defRPr>
                <a:solidFill>
                  <a:schemeClr val="tx1">
                    <a:tint val="75000"/>
                  </a:schemeClr>
                </a:solidFill>
              </a:defRPr>
            </a:lvl2pPr>
            <a:lvl3pPr marL="914120" indent="0" algn="ctr">
              <a:buNone/>
              <a:defRPr>
                <a:solidFill>
                  <a:schemeClr val="tx1">
                    <a:tint val="75000"/>
                  </a:schemeClr>
                </a:solidFill>
              </a:defRPr>
            </a:lvl3pPr>
            <a:lvl4pPr marL="1371181" indent="0" algn="ctr">
              <a:buNone/>
              <a:defRPr>
                <a:solidFill>
                  <a:schemeClr val="tx1">
                    <a:tint val="75000"/>
                  </a:schemeClr>
                </a:solidFill>
              </a:defRPr>
            </a:lvl4pPr>
            <a:lvl5pPr marL="1828240" indent="0" algn="ctr">
              <a:buNone/>
              <a:defRPr>
                <a:solidFill>
                  <a:schemeClr val="tx1">
                    <a:tint val="75000"/>
                  </a:schemeClr>
                </a:solidFill>
              </a:defRPr>
            </a:lvl5pPr>
            <a:lvl6pPr marL="2285302" indent="0" algn="ctr">
              <a:buNone/>
              <a:defRPr>
                <a:solidFill>
                  <a:schemeClr val="tx1">
                    <a:tint val="75000"/>
                  </a:schemeClr>
                </a:solidFill>
              </a:defRPr>
            </a:lvl6pPr>
            <a:lvl7pPr marL="2742360" indent="0" algn="ctr">
              <a:buNone/>
              <a:defRPr>
                <a:solidFill>
                  <a:schemeClr val="tx1">
                    <a:tint val="75000"/>
                  </a:schemeClr>
                </a:solidFill>
              </a:defRPr>
            </a:lvl7pPr>
            <a:lvl8pPr marL="3199422" indent="0" algn="ctr">
              <a:buNone/>
              <a:defRPr>
                <a:solidFill>
                  <a:schemeClr val="tx1">
                    <a:tint val="75000"/>
                  </a:schemeClr>
                </a:solidFill>
              </a:defRPr>
            </a:lvl8pPr>
            <a:lvl9pPr marL="3656482"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a:xfrm>
            <a:off x="457200" y="5296968"/>
            <a:ext cx="2133600" cy="304271"/>
          </a:xfrm>
          <a:prstGeom prst="rect">
            <a:avLst/>
          </a:prstGeom>
        </p:spPr>
        <p:txBody>
          <a:bodyPr lIns="91412" tIns="45706" rIns="91412" bIns="45706"/>
          <a:lstStyle/>
          <a:p>
            <a:pPr fontAlgn="base">
              <a:spcBef>
                <a:spcPct val="0"/>
              </a:spcBef>
              <a:spcAft>
                <a:spcPct val="0"/>
              </a:spcAft>
            </a:pPr>
            <a:fld id="{530820CF-B880-4189-942D-D702A7CBA730}" type="datetimeFigureOut">
              <a:rPr lang="zh-CN" altLang="en-US" sz="1100" smtClean="0">
                <a:solidFill>
                  <a:srgbClr val="000000"/>
                </a:solidFill>
                <a:sym typeface="Arial Bold" charset="0"/>
              </a:rPr>
              <a:pPr fontAlgn="base">
                <a:spcBef>
                  <a:spcPct val="0"/>
                </a:spcBef>
                <a:spcAft>
                  <a:spcPct val="0"/>
                </a:spcAft>
              </a:pPr>
              <a:t>2018-12-11</a:t>
            </a:fld>
            <a:endParaRPr lang="zh-CN" altLang="en-US" sz="1100">
              <a:solidFill>
                <a:srgbClr val="000000"/>
              </a:solidFill>
              <a:sym typeface="Arial Bold" charset="0"/>
            </a:endParaRPr>
          </a:p>
        </p:txBody>
      </p:sp>
      <p:sp>
        <p:nvSpPr>
          <p:cNvPr id="5" name="页脚占位符 4"/>
          <p:cNvSpPr>
            <a:spLocks noGrp="1"/>
          </p:cNvSpPr>
          <p:nvPr>
            <p:ph type="ftr" sz="quarter" idx="11"/>
          </p:nvPr>
        </p:nvSpPr>
        <p:spPr>
          <a:xfrm>
            <a:off x="3124200" y="5296968"/>
            <a:ext cx="2895600" cy="304271"/>
          </a:xfrm>
          <a:prstGeom prst="rect">
            <a:avLst/>
          </a:prstGeom>
        </p:spPr>
        <p:txBody>
          <a:bodyPr lIns="91412" tIns="45706" rIns="91412" bIns="45706"/>
          <a:lstStyle/>
          <a:p>
            <a:pPr fontAlgn="base">
              <a:spcBef>
                <a:spcPct val="0"/>
              </a:spcBef>
              <a:spcAft>
                <a:spcPct val="0"/>
              </a:spcAft>
            </a:pPr>
            <a:endParaRPr lang="zh-CN" altLang="en-US" sz="1100">
              <a:solidFill>
                <a:srgbClr val="000000"/>
              </a:solidFill>
              <a:sym typeface="Arial Bold" charset="0"/>
            </a:endParaRPr>
          </a:p>
        </p:txBody>
      </p:sp>
      <p:sp>
        <p:nvSpPr>
          <p:cNvPr id="6" name="灯片编号占位符 5"/>
          <p:cNvSpPr>
            <a:spLocks noGrp="1"/>
          </p:cNvSpPr>
          <p:nvPr>
            <p:ph type="sldNum" sz="quarter" idx="12"/>
          </p:nvPr>
        </p:nvSpPr>
        <p:spPr/>
        <p:txBody>
          <a:bodyPr/>
          <a:lstStyle/>
          <a:p>
            <a:fld id="{0C913308-F349-4B6D-A68A-DD1791B4A57B}" type="slidenum">
              <a:rPr lang="zh-CN" altLang="en-US" smtClean="0">
                <a:solidFill>
                  <a:srgbClr val="FFFFFF">
                    <a:lumMod val="50000"/>
                  </a:srgbClr>
                </a:solidFill>
              </a:rPr>
              <a:pPr/>
              <a:t>‹#›</a:t>
            </a:fld>
            <a:endParaRPr lang="zh-CN" altLang="en-US">
              <a:solidFill>
                <a:srgbClr val="FFFFFF">
                  <a:lumMod val="50000"/>
                </a:srgbClr>
              </a:solidFill>
            </a:endParaRPr>
          </a:p>
        </p:txBody>
      </p:sp>
    </p:spTree>
    <p:extLst>
      <p:ext uri="{BB962C8B-B14F-4D97-AF65-F5344CB8AC3E}">
        <p14:creationId xmlns:p14="http://schemas.microsoft.com/office/powerpoint/2010/main" val="4155572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111250"/>
            <a:ext cx="4038600" cy="3143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111250"/>
            <a:ext cx="4038600" cy="3143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530820CF-B880-4189-942D-D702A7CBA730}" type="datetimeFigureOut">
              <a:rPr lang="zh-CN" altLang="en-US" smtClean="0"/>
              <a:t>2018-12-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34971671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28865"/>
            <a:ext cx="8229600" cy="9525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279263"/>
            <a:ext cx="4040188" cy="533135"/>
          </a:xfrm>
        </p:spPr>
        <p:txBody>
          <a:bodyPr anchor="b"/>
          <a:lstStyle>
            <a:lvl1pPr marL="0" indent="0">
              <a:buNone/>
              <a:defRPr sz="2400" b="1"/>
            </a:lvl1pPr>
            <a:lvl2pPr marL="457095" indent="0">
              <a:buNone/>
              <a:defRPr sz="2000" b="1"/>
            </a:lvl2pPr>
            <a:lvl3pPr marL="914190" indent="0">
              <a:buNone/>
              <a:defRPr sz="1800" b="1"/>
            </a:lvl3pPr>
            <a:lvl4pPr marL="1371286" indent="0">
              <a:buNone/>
              <a:defRPr sz="1600" b="1"/>
            </a:lvl4pPr>
            <a:lvl5pPr marL="1828380" indent="0">
              <a:buNone/>
              <a:defRPr sz="1600" b="1"/>
            </a:lvl5pPr>
            <a:lvl6pPr marL="2285476" indent="0">
              <a:buNone/>
              <a:defRPr sz="1600" b="1"/>
            </a:lvl6pPr>
            <a:lvl7pPr marL="2742570" indent="0">
              <a:buNone/>
              <a:defRPr sz="1600" b="1"/>
            </a:lvl7pPr>
            <a:lvl8pPr marL="3199667" indent="0">
              <a:buNone/>
              <a:defRPr sz="1600" b="1"/>
            </a:lvl8pPr>
            <a:lvl9pPr marL="3656761"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1812396"/>
            <a:ext cx="4040188" cy="329274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33" y="1279263"/>
            <a:ext cx="4041775" cy="533135"/>
          </a:xfrm>
        </p:spPr>
        <p:txBody>
          <a:bodyPr anchor="b"/>
          <a:lstStyle>
            <a:lvl1pPr marL="0" indent="0">
              <a:buNone/>
              <a:defRPr sz="2400" b="1"/>
            </a:lvl1pPr>
            <a:lvl2pPr marL="457095" indent="0">
              <a:buNone/>
              <a:defRPr sz="2000" b="1"/>
            </a:lvl2pPr>
            <a:lvl3pPr marL="914190" indent="0">
              <a:buNone/>
              <a:defRPr sz="1800" b="1"/>
            </a:lvl3pPr>
            <a:lvl4pPr marL="1371286" indent="0">
              <a:buNone/>
              <a:defRPr sz="1600" b="1"/>
            </a:lvl4pPr>
            <a:lvl5pPr marL="1828380" indent="0">
              <a:buNone/>
              <a:defRPr sz="1600" b="1"/>
            </a:lvl5pPr>
            <a:lvl6pPr marL="2285476" indent="0">
              <a:buNone/>
              <a:defRPr sz="1600" b="1"/>
            </a:lvl6pPr>
            <a:lvl7pPr marL="2742570" indent="0">
              <a:buNone/>
              <a:defRPr sz="1600" b="1"/>
            </a:lvl7pPr>
            <a:lvl8pPr marL="3199667" indent="0">
              <a:buNone/>
              <a:defRPr sz="1600" b="1"/>
            </a:lvl8pPr>
            <a:lvl9pPr marL="3656761"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33" y="1812396"/>
            <a:ext cx="4041775" cy="329274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530820CF-B880-4189-942D-D702A7CBA730}" type="datetimeFigureOut">
              <a:rPr lang="zh-CN" altLang="en-US" smtClean="0"/>
              <a:t>2018-12-11</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19091011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530820CF-B880-4189-942D-D702A7CBA730}" type="datetimeFigureOut">
              <a:rPr lang="zh-CN" altLang="en-US" smtClean="0"/>
              <a:t>2018-12-11</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24248712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t>2018-12-11</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39079788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5" y="227543"/>
            <a:ext cx="3008313" cy="968375"/>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1" y="227542"/>
            <a:ext cx="5111750" cy="487759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5" y="1195920"/>
            <a:ext cx="3008313" cy="3909219"/>
          </a:xfrm>
        </p:spPr>
        <p:txBody>
          <a:bodyPr/>
          <a:lstStyle>
            <a:lvl1pPr marL="0" indent="0">
              <a:buNone/>
              <a:defRPr sz="1400"/>
            </a:lvl1pPr>
            <a:lvl2pPr marL="457095" indent="0">
              <a:buNone/>
              <a:defRPr sz="1200"/>
            </a:lvl2pPr>
            <a:lvl3pPr marL="914190" indent="0">
              <a:buNone/>
              <a:defRPr sz="1000"/>
            </a:lvl3pPr>
            <a:lvl4pPr marL="1371286" indent="0">
              <a:buNone/>
              <a:defRPr sz="900"/>
            </a:lvl4pPr>
            <a:lvl5pPr marL="1828380" indent="0">
              <a:buNone/>
              <a:defRPr sz="900"/>
            </a:lvl5pPr>
            <a:lvl6pPr marL="2285476" indent="0">
              <a:buNone/>
              <a:defRPr sz="900"/>
            </a:lvl6pPr>
            <a:lvl7pPr marL="2742570" indent="0">
              <a:buNone/>
              <a:defRPr sz="900"/>
            </a:lvl7pPr>
            <a:lvl8pPr marL="3199667" indent="0">
              <a:buNone/>
              <a:defRPr sz="900"/>
            </a:lvl8pPr>
            <a:lvl9pPr marL="3656761"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18-12-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39450654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000500"/>
            <a:ext cx="5486400" cy="472282"/>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510646"/>
            <a:ext cx="5486400" cy="3429000"/>
          </a:xfrm>
        </p:spPr>
        <p:txBody>
          <a:bodyPr/>
          <a:lstStyle>
            <a:lvl1pPr marL="0" indent="0">
              <a:buNone/>
              <a:defRPr sz="3200"/>
            </a:lvl1pPr>
            <a:lvl2pPr marL="457095" indent="0">
              <a:buNone/>
              <a:defRPr sz="2800"/>
            </a:lvl2pPr>
            <a:lvl3pPr marL="914190" indent="0">
              <a:buNone/>
              <a:defRPr sz="2400"/>
            </a:lvl3pPr>
            <a:lvl4pPr marL="1371286" indent="0">
              <a:buNone/>
              <a:defRPr sz="2000"/>
            </a:lvl4pPr>
            <a:lvl5pPr marL="1828380" indent="0">
              <a:buNone/>
              <a:defRPr sz="2000"/>
            </a:lvl5pPr>
            <a:lvl6pPr marL="2285476" indent="0">
              <a:buNone/>
              <a:defRPr sz="2000"/>
            </a:lvl6pPr>
            <a:lvl7pPr marL="2742570" indent="0">
              <a:buNone/>
              <a:defRPr sz="2000"/>
            </a:lvl7pPr>
            <a:lvl8pPr marL="3199667" indent="0">
              <a:buNone/>
              <a:defRPr sz="2000"/>
            </a:lvl8pPr>
            <a:lvl9pPr marL="3656761" indent="0">
              <a:buNone/>
              <a:defRPr sz="2000"/>
            </a:lvl9pPr>
          </a:lstStyle>
          <a:p>
            <a:endParaRPr lang="zh-CN" altLang="en-US"/>
          </a:p>
        </p:txBody>
      </p:sp>
      <p:sp>
        <p:nvSpPr>
          <p:cNvPr id="4" name="文本占位符 3"/>
          <p:cNvSpPr>
            <a:spLocks noGrp="1"/>
          </p:cNvSpPr>
          <p:nvPr>
            <p:ph type="body" sz="half" idx="2"/>
          </p:nvPr>
        </p:nvSpPr>
        <p:spPr>
          <a:xfrm>
            <a:off x="1792288" y="4472782"/>
            <a:ext cx="5486400" cy="670718"/>
          </a:xfrm>
        </p:spPr>
        <p:txBody>
          <a:bodyPr/>
          <a:lstStyle>
            <a:lvl1pPr marL="0" indent="0">
              <a:buNone/>
              <a:defRPr sz="1400"/>
            </a:lvl1pPr>
            <a:lvl2pPr marL="457095" indent="0">
              <a:buNone/>
              <a:defRPr sz="1200"/>
            </a:lvl2pPr>
            <a:lvl3pPr marL="914190" indent="0">
              <a:buNone/>
              <a:defRPr sz="1000"/>
            </a:lvl3pPr>
            <a:lvl4pPr marL="1371286" indent="0">
              <a:buNone/>
              <a:defRPr sz="900"/>
            </a:lvl4pPr>
            <a:lvl5pPr marL="1828380" indent="0">
              <a:buNone/>
              <a:defRPr sz="900"/>
            </a:lvl5pPr>
            <a:lvl6pPr marL="2285476" indent="0">
              <a:buNone/>
              <a:defRPr sz="900"/>
            </a:lvl6pPr>
            <a:lvl7pPr marL="2742570" indent="0">
              <a:buNone/>
              <a:defRPr sz="900"/>
            </a:lvl7pPr>
            <a:lvl8pPr marL="3199667" indent="0">
              <a:buNone/>
              <a:defRPr sz="900"/>
            </a:lvl8pPr>
            <a:lvl9pPr marL="3656761"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18-12-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17080477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6" Type="http://schemas.openxmlformats.org/officeDocument/2006/relationships/image" Target="../media/image2.jpe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3.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28865"/>
            <a:ext cx="8229600" cy="952500"/>
          </a:xfrm>
          <a:prstGeom prst="rect">
            <a:avLst/>
          </a:prstGeom>
        </p:spPr>
        <p:txBody>
          <a:bodyPr vert="horz" lIns="91419" tIns="45709" rIns="91419" bIns="45709"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333500"/>
            <a:ext cx="8229600" cy="3771636"/>
          </a:xfrm>
          <a:prstGeom prst="rect">
            <a:avLst/>
          </a:prstGeom>
        </p:spPr>
        <p:txBody>
          <a:bodyPr vert="horz" lIns="91419" tIns="45709" rIns="91419" bIns="45709"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2"/>
          </p:nvPr>
        </p:nvSpPr>
        <p:spPr>
          <a:xfrm>
            <a:off x="457200" y="5296967"/>
            <a:ext cx="2133600" cy="304271"/>
          </a:xfrm>
          <a:prstGeom prst="rect">
            <a:avLst/>
          </a:prstGeom>
        </p:spPr>
        <p:txBody>
          <a:bodyPr vert="horz" lIns="91419" tIns="45709" rIns="91419" bIns="45709" rtlCol="0" anchor="ctr"/>
          <a:lstStyle>
            <a:lvl1pPr algn="l">
              <a:defRPr sz="1200">
                <a:solidFill>
                  <a:schemeClr val="tx1">
                    <a:tint val="75000"/>
                  </a:schemeClr>
                </a:solidFill>
              </a:defRPr>
            </a:lvl1pPr>
          </a:lstStyle>
          <a:p>
            <a:fld id="{530820CF-B880-4189-942D-D702A7CBA730}" type="datetimeFigureOut">
              <a:rPr lang="zh-CN" altLang="en-US" smtClean="0"/>
              <a:t>2018-12-11</a:t>
            </a:fld>
            <a:endParaRPr lang="zh-CN" altLang="en-US"/>
          </a:p>
        </p:txBody>
      </p:sp>
      <p:sp>
        <p:nvSpPr>
          <p:cNvPr id="5" name="页脚占位符 4"/>
          <p:cNvSpPr>
            <a:spLocks noGrp="1"/>
          </p:cNvSpPr>
          <p:nvPr>
            <p:ph type="ftr" sz="quarter" idx="3"/>
          </p:nvPr>
        </p:nvSpPr>
        <p:spPr>
          <a:xfrm>
            <a:off x="3124200" y="5296967"/>
            <a:ext cx="2895600" cy="304271"/>
          </a:xfrm>
          <a:prstGeom prst="rect">
            <a:avLst/>
          </a:prstGeom>
        </p:spPr>
        <p:txBody>
          <a:bodyPr vert="horz" lIns="91419" tIns="45709" rIns="91419" bIns="45709"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5296967"/>
            <a:ext cx="2133600" cy="304271"/>
          </a:xfrm>
          <a:prstGeom prst="rect">
            <a:avLst/>
          </a:prstGeom>
        </p:spPr>
        <p:txBody>
          <a:bodyPr vert="horz" lIns="91419" tIns="45709" rIns="91419" bIns="45709" rtlCol="0" anchor="ctr"/>
          <a:lstStyle>
            <a:lvl1pPr algn="r">
              <a:defRPr sz="1200">
                <a:solidFill>
                  <a:schemeClr val="tx1">
                    <a:tint val="75000"/>
                  </a:schemeClr>
                </a:solidFill>
              </a:defRPr>
            </a:lvl1pPr>
          </a:lstStyle>
          <a:p>
            <a:fld id="{0C913308-F349-4B6D-A68A-DD1791B4A57B}" type="slidenum">
              <a:rPr lang="zh-CN" altLang="en-US" smtClean="0"/>
              <a:t>‹#›</a:t>
            </a:fld>
            <a:endParaRPr lang="zh-CN" altLang="en-US"/>
          </a:p>
        </p:txBody>
      </p:sp>
    </p:spTree>
    <p:extLst>
      <p:ext uri="{BB962C8B-B14F-4D97-AF65-F5344CB8AC3E}">
        <p14:creationId xmlns:p14="http://schemas.microsoft.com/office/powerpoint/2010/main" val="165933452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36" r:id="rId12"/>
  </p:sldLayoutIdLst>
  <p:txStyles>
    <p:titleStyle>
      <a:lvl1pPr algn="ctr" defTabSz="914190" rtl="0" eaLnBrk="1" latinLnBrk="0" hangingPunct="1">
        <a:spcBef>
          <a:spcPct val="0"/>
        </a:spcBef>
        <a:buNone/>
        <a:defRPr sz="4400" kern="1200">
          <a:solidFill>
            <a:schemeClr val="tx1"/>
          </a:solidFill>
          <a:latin typeface="+mj-lt"/>
          <a:ea typeface="+mj-ea"/>
          <a:cs typeface="+mj-cs"/>
        </a:defRPr>
      </a:lvl1pPr>
    </p:titleStyle>
    <p:bodyStyle>
      <a:lvl1pPr marL="342821" indent="-342821" algn="l" defTabSz="91419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780" indent="-285685" algn="l" defTabSz="91419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738" indent="-228548" algn="l" defTabSz="91419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834" indent="-228548" algn="l" defTabSz="91419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929" indent="-228548" algn="l" defTabSz="91419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024" indent="-228548" algn="l" defTabSz="9141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20" indent="-228548" algn="l" defTabSz="9141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15" indent="-228548" algn="l" defTabSz="9141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11" indent="-228548" algn="l" defTabSz="91419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190" rtl="0" eaLnBrk="1" latinLnBrk="0" hangingPunct="1">
        <a:defRPr sz="1800" kern="1200">
          <a:solidFill>
            <a:schemeClr val="tx1"/>
          </a:solidFill>
          <a:latin typeface="+mn-lt"/>
          <a:ea typeface="+mn-ea"/>
          <a:cs typeface="+mn-cs"/>
        </a:defRPr>
      </a:lvl1pPr>
      <a:lvl2pPr marL="457095" algn="l" defTabSz="914190" rtl="0" eaLnBrk="1" latinLnBrk="0" hangingPunct="1">
        <a:defRPr sz="1800" kern="1200">
          <a:solidFill>
            <a:schemeClr val="tx1"/>
          </a:solidFill>
          <a:latin typeface="+mn-lt"/>
          <a:ea typeface="+mn-ea"/>
          <a:cs typeface="+mn-cs"/>
        </a:defRPr>
      </a:lvl2pPr>
      <a:lvl3pPr marL="914190" algn="l" defTabSz="914190" rtl="0" eaLnBrk="1" latinLnBrk="0" hangingPunct="1">
        <a:defRPr sz="1800" kern="1200">
          <a:solidFill>
            <a:schemeClr val="tx1"/>
          </a:solidFill>
          <a:latin typeface="+mn-lt"/>
          <a:ea typeface="+mn-ea"/>
          <a:cs typeface="+mn-cs"/>
        </a:defRPr>
      </a:lvl3pPr>
      <a:lvl4pPr marL="1371286" algn="l" defTabSz="914190" rtl="0" eaLnBrk="1" latinLnBrk="0" hangingPunct="1">
        <a:defRPr sz="1800" kern="1200">
          <a:solidFill>
            <a:schemeClr val="tx1"/>
          </a:solidFill>
          <a:latin typeface="+mn-lt"/>
          <a:ea typeface="+mn-ea"/>
          <a:cs typeface="+mn-cs"/>
        </a:defRPr>
      </a:lvl4pPr>
      <a:lvl5pPr marL="1828380" algn="l" defTabSz="914190" rtl="0" eaLnBrk="1" latinLnBrk="0" hangingPunct="1">
        <a:defRPr sz="1800" kern="1200">
          <a:solidFill>
            <a:schemeClr val="tx1"/>
          </a:solidFill>
          <a:latin typeface="+mn-lt"/>
          <a:ea typeface="+mn-ea"/>
          <a:cs typeface="+mn-cs"/>
        </a:defRPr>
      </a:lvl5pPr>
      <a:lvl6pPr marL="2285476" algn="l" defTabSz="914190" rtl="0" eaLnBrk="1" latinLnBrk="0" hangingPunct="1">
        <a:defRPr sz="1800" kern="1200">
          <a:solidFill>
            <a:schemeClr val="tx1"/>
          </a:solidFill>
          <a:latin typeface="+mn-lt"/>
          <a:ea typeface="+mn-ea"/>
          <a:cs typeface="+mn-cs"/>
        </a:defRPr>
      </a:lvl6pPr>
      <a:lvl7pPr marL="2742570" algn="l" defTabSz="914190" rtl="0" eaLnBrk="1" latinLnBrk="0" hangingPunct="1">
        <a:defRPr sz="1800" kern="1200">
          <a:solidFill>
            <a:schemeClr val="tx1"/>
          </a:solidFill>
          <a:latin typeface="+mn-lt"/>
          <a:ea typeface="+mn-ea"/>
          <a:cs typeface="+mn-cs"/>
        </a:defRPr>
      </a:lvl7pPr>
      <a:lvl8pPr marL="3199667" algn="l" defTabSz="914190" rtl="0" eaLnBrk="1" latinLnBrk="0" hangingPunct="1">
        <a:defRPr sz="1800" kern="1200">
          <a:solidFill>
            <a:schemeClr val="tx1"/>
          </a:solidFill>
          <a:latin typeface="+mn-lt"/>
          <a:ea typeface="+mn-ea"/>
          <a:cs typeface="+mn-cs"/>
        </a:defRPr>
      </a:lvl8pPr>
      <a:lvl9pPr marL="3656761" algn="l" defTabSz="91419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日期占位符 3"/>
          <p:cNvSpPr>
            <a:spLocks noGrp="1"/>
          </p:cNvSpPr>
          <p:nvPr>
            <p:ph type="dt" sz="half" idx="2"/>
          </p:nvPr>
        </p:nvSpPr>
        <p:spPr>
          <a:xfrm>
            <a:off x="457200" y="5297488"/>
            <a:ext cx="2133600" cy="303212"/>
          </a:xfrm>
          <a:prstGeom prst="rect">
            <a:avLst/>
          </a:prstGeom>
        </p:spPr>
        <p:txBody>
          <a:bodyPr vert="horz" lIns="91419" tIns="45709" rIns="91419" bIns="45709" rtlCol="0" anchor="ctr"/>
          <a:lstStyle>
            <a:lvl1pPr algn="l">
              <a:defRPr sz="1200">
                <a:solidFill>
                  <a:schemeClr val="tx1">
                    <a:tint val="75000"/>
                  </a:schemeClr>
                </a:solidFill>
              </a:defRPr>
            </a:lvl1pPr>
          </a:lstStyle>
          <a:p>
            <a:fld id="{E71A3236-84DA-4147-8171-BE3579B9CA4C}" type="datetimeFigureOut">
              <a:rPr lang="zh-CN" altLang="en-US" smtClean="0"/>
              <a:t>2018-12-11</a:t>
            </a:fld>
            <a:endParaRPr lang="zh-CN" altLang="en-US"/>
          </a:p>
        </p:txBody>
      </p:sp>
      <p:sp>
        <p:nvSpPr>
          <p:cNvPr id="5" name="页脚占位符 4"/>
          <p:cNvSpPr>
            <a:spLocks noGrp="1"/>
          </p:cNvSpPr>
          <p:nvPr>
            <p:ph type="ftr" sz="quarter" idx="3"/>
          </p:nvPr>
        </p:nvSpPr>
        <p:spPr>
          <a:xfrm>
            <a:off x="3124200" y="5297488"/>
            <a:ext cx="2895600" cy="303212"/>
          </a:xfrm>
          <a:prstGeom prst="rect">
            <a:avLst/>
          </a:prstGeom>
        </p:spPr>
        <p:txBody>
          <a:bodyPr vert="horz" lIns="91419" tIns="45709" rIns="91419" bIns="45709"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5297488"/>
            <a:ext cx="2133600" cy="303212"/>
          </a:xfrm>
          <a:prstGeom prst="rect">
            <a:avLst/>
          </a:prstGeom>
        </p:spPr>
        <p:txBody>
          <a:bodyPr vert="horz" lIns="91419" tIns="45709" rIns="91419" bIns="45709" rtlCol="0" anchor="ctr"/>
          <a:lstStyle>
            <a:lvl1pPr algn="r">
              <a:defRPr sz="1200">
                <a:solidFill>
                  <a:schemeClr val="tx1">
                    <a:tint val="75000"/>
                  </a:schemeClr>
                </a:solidFill>
              </a:defRPr>
            </a:lvl1pPr>
          </a:lstStyle>
          <a:p>
            <a:fld id="{E2ED7C95-C401-49BA-9FBA-A5624923A7DA}" type="slidenum">
              <a:rPr lang="zh-CN" altLang="en-US" smtClean="0"/>
              <a:t>‹#›</a:t>
            </a:fld>
            <a:endParaRPr lang="zh-CN" altLang="en-US"/>
          </a:p>
        </p:txBody>
      </p:sp>
      <p:pic>
        <p:nvPicPr>
          <p:cNvPr id="7" name="图片 5"/>
          <p:cNvPicPr>
            <a:picLocks noChangeAspect="1" noChangeArrowheads="1"/>
          </p:cNvPicPr>
          <p:nvPr userDrawn="1"/>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452171" y="113249"/>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271"/>
          <p:cNvSpPr>
            <a:spLocks noChangeArrowheads="1"/>
          </p:cNvSpPr>
          <p:nvPr userDrawn="1"/>
        </p:nvSpPr>
        <p:spPr bwMode="auto">
          <a:xfrm>
            <a:off x="1835698" y="799097"/>
            <a:ext cx="6840760" cy="45719"/>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ym typeface="宋体" pitchFamily="2" charset="-122"/>
            </a:endParaRPr>
          </a:p>
        </p:txBody>
      </p:sp>
      <p:sp>
        <p:nvSpPr>
          <p:cNvPr id="9" name="TextBox 8"/>
          <p:cNvSpPr txBox="1"/>
          <p:nvPr userDrawn="1"/>
        </p:nvSpPr>
        <p:spPr>
          <a:xfrm>
            <a:off x="775008" y="365214"/>
            <a:ext cx="1115839" cy="584753"/>
          </a:xfrm>
          <a:prstGeom prst="rect">
            <a:avLst/>
          </a:prstGeom>
          <a:noFill/>
        </p:spPr>
        <p:txBody>
          <a:bodyPr wrap="square" lIns="91419" tIns="45709" rIns="91419" bIns="45709" rtlCol="0">
            <a:spAutoFit/>
          </a:bodyPr>
          <a:lstStyle/>
          <a:p>
            <a:r>
              <a:rPr lang="zh-CN" altLang="en-US" sz="1600" b="1" dirty="0" smtClean="0">
                <a:solidFill>
                  <a:srgbClr val="C00000"/>
                </a:solidFill>
                <a:latin typeface="微软雅黑" pitchFamily="34" charset="-122"/>
                <a:ea typeface="微软雅黑" pitchFamily="34" charset="-122"/>
              </a:rPr>
              <a:t>企业简介</a:t>
            </a:r>
            <a:endParaRPr lang="en-US" altLang="zh-CN" sz="1600" b="1" dirty="0" smtClean="0">
              <a:solidFill>
                <a:srgbClr val="C00000"/>
              </a:solidFill>
              <a:latin typeface="微软雅黑" pitchFamily="34" charset="-122"/>
              <a:ea typeface="微软雅黑" pitchFamily="34" charset="-122"/>
            </a:endParaRPr>
          </a:p>
          <a:p>
            <a:r>
              <a:rPr lang="en-US" altLang="zh-CN" sz="1600" b="1" dirty="0" smtClean="0">
                <a:solidFill>
                  <a:srgbClr val="C00000"/>
                </a:solidFill>
                <a:latin typeface="微软雅黑" pitchFamily="34" charset="-122"/>
                <a:ea typeface="微软雅黑" pitchFamily="34" charset="-122"/>
              </a:rPr>
              <a:t>Profile</a:t>
            </a:r>
            <a:endParaRPr lang="zh-CN" altLang="en-US" sz="1600" b="1" dirty="0">
              <a:solidFill>
                <a:srgbClr val="C00000"/>
              </a:solidFill>
              <a:latin typeface="微软雅黑" pitchFamily="34" charset="-122"/>
              <a:ea typeface="微软雅黑" pitchFamily="34" charset="-122"/>
            </a:endParaRPr>
          </a:p>
        </p:txBody>
      </p:sp>
      <p:sp>
        <p:nvSpPr>
          <p:cNvPr id="10" name="Rectangle 272"/>
          <p:cNvSpPr>
            <a:spLocks noChangeArrowheads="1"/>
          </p:cNvSpPr>
          <p:nvPr userDrawn="1"/>
        </p:nvSpPr>
        <p:spPr bwMode="auto">
          <a:xfrm>
            <a:off x="706432" y="466151"/>
            <a:ext cx="45719" cy="38289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spTree>
    <p:extLst>
      <p:ext uri="{BB962C8B-B14F-4D97-AF65-F5344CB8AC3E}">
        <p14:creationId xmlns:p14="http://schemas.microsoft.com/office/powerpoint/2010/main" val="371910979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ctr" defTabSz="914190" rtl="0" eaLnBrk="1" latinLnBrk="0" hangingPunct="1">
        <a:spcBef>
          <a:spcPct val="0"/>
        </a:spcBef>
        <a:buNone/>
        <a:defRPr sz="4400" kern="1200">
          <a:solidFill>
            <a:schemeClr val="tx1"/>
          </a:solidFill>
          <a:latin typeface="+mj-lt"/>
          <a:ea typeface="+mj-ea"/>
          <a:cs typeface="+mj-cs"/>
        </a:defRPr>
      </a:lvl1pPr>
    </p:titleStyle>
    <p:bodyStyle>
      <a:lvl1pPr marL="342821" indent="-342821" algn="l" defTabSz="91419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780" indent="-285685" algn="l" defTabSz="91419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738" indent="-228548" algn="l" defTabSz="91419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834" indent="-228548" algn="l" defTabSz="91419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929" indent="-228548" algn="l" defTabSz="91419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024" indent="-228548" algn="l" defTabSz="9141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20" indent="-228548" algn="l" defTabSz="9141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15" indent="-228548" algn="l" defTabSz="9141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11" indent="-228548" algn="l" defTabSz="91419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190" rtl="0" eaLnBrk="1" latinLnBrk="0" hangingPunct="1">
        <a:defRPr sz="1800" kern="1200">
          <a:solidFill>
            <a:schemeClr val="tx1"/>
          </a:solidFill>
          <a:latin typeface="+mn-lt"/>
          <a:ea typeface="+mn-ea"/>
          <a:cs typeface="+mn-cs"/>
        </a:defRPr>
      </a:lvl1pPr>
      <a:lvl2pPr marL="457095" algn="l" defTabSz="914190" rtl="0" eaLnBrk="1" latinLnBrk="0" hangingPunct="1">
        <a:defRPr sz="1800" kern="1200">
          <a:solidFill>
            <a:schemeClr val="tx1"/>
          </a:solidFill>
          <a:latin typeface="+mn-lt"/>
          <a:ea typeface="+mn-ea"/>
          <a:cs typeface="+mn-cs"/>
        </a:defRPr>
      </a:lvl2pPr>
      <a:lvl3pPr marL="914190" algn="l" defTabSz="914190" rtl="0" eaLnBrk="1" latinLnBrk="0" hangingPunct="1">
        <a:defRPr sz="1800" kern="1200">
          <a:solidFill>
            <a:schemeClr val="tx1"/>
          </a:solidFill>
          <a:latin typeface="+mn-lt"/>
          <a:ea typeface="+mn-ea"/>
          <a:cs typeface="+mn-cs"/>
        </a:defRPr>
      </a:lvl3pPr>
      <a:lvl4pPr marL="1371286" algn="l" defTabSz="914190" rtl="0" eaLnBrk="1" latinLnBrk="0" hangingPunct="1">
        <a:defRPr sz="1800" kern="1200">
          <a:solidFill>
            <a:schemeClr val="tx1"/>
          </a:solidFill>
          <a:latin typeface="+mn-lt"/>
          <a:ea typeface="+mn-ea"/>
          <a:cs typeface="+mn-cs"/>
        </a:defRPr>
      </a:lvl4pPr>
      <a:lvl5pPr marL="1828380" algn="l" defTabSz="914190" rtl="0" eaLnBrk="1" latinLnBrk="0" hangingPunct="1">
        <a:defRPr sz="1800" kern="1200">
          <a:solidFill>
            <a:schemeClr val="tx1"/>
          </a:solidFill>
          <a:latin typeface="+mn-lt"/>
          <a:ea typeface="+mn-ea"/>
          <a:cs typeface="+mn-cs"/>
        </a:defRPr>
      </a:lvl5pPr>
      <a:lvl6pPr marL="2285476" algn="l" defTabSz="914190" rtl="0" eaLnBrk="1" latinLnBrk="0" hangingPunct="1">
        <a:defRPr sz="1800" kern="1200">
          <a:solidFill>
            <a:schemeClr val="tx1"/>
          </a:solidFill>
          <a:latin typeface="+mn-lt"/>
          <a:ea typeface="+mn-ea"/>
          <a:cs typeface="+mn-cs"/>
        </a:defRPr>
      </a:lvl6pPr>
      <a:lvl7pPr marL="2742570" algn="l" defTabSz="914190" rtl="0" eaLnBrk="1" latinLnBrk="0" hangingPunct="1">
        <a:defRPr sz="1800" kern="1200">
          <a:solidFill>
            <a:schemeClr val="tx1"/>
          </a:solidFill>
          <a:latin typeface="+mn-lt"/>
          <a:ea typeface="+mn-ea"/>
          <a:cs typeface="+mn-cs"/>
        </a:defRPr>
      </a:lvl7pPr>
      <a:lvl8pPr marL="3199667" algn="l" defTabSz="914190" rtl="0" eaLnBrk="1" latinLnBrk="0" hangingPunct="1">
        <a:defRPr sz="1800" kern="1200">
          <a:solidFill>
            <a:schemeClr val="tx1"/>
          </a:solidFill>
          <a:latin typeface="+mn-lt"/>
          <a:ea typeface="+mn-ea"/>
          <a:cs typeface="+mn-cs"/>
        </a:defRPr>
      </a:lvl8pPr>
      <a:lvl9pPr marL="3656761" algn="l" defTabSz="91419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49" name="Text Box 1"/>
          <p:cNvSpPr txBox="1">
            <a:spLocks noGrp="1" noChangeArrowheads="1"/>
          </p:cNvSpPr>
          <p:nvPr>
            <p:ph type="sldNum" sz="quarter" idx="4"/>
          </p:nvPr>
        </p:nvSpPr>
        <p:spPr bwMode="auto">
          <a:xfrm>
            <a:off x="8568619" y="5505980"/>
            <a:ext cx="224203" cy="190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80981" tIns="40490" rIns="80981" bIns="40490" numCol="1" anchor="t" anchorCtr="0" compatLnSpc="1">
            <a:prstTxWarp prst="textNoShape">
              <a:avLst/>
            </a:prstTxWarp>
          </a:bodyPr>
          <a:lstStyle>
            <a:lvl1pPr algn="ctr">
              <a:defRPr sz="800">
                <a:solidFill>
                  <a:schemeClr val="bg1">
                    <a:lumMod val="50000"/>
                  </a:schemeClr>
                </a:solidFill>
                <a:ea typeface="宋体" pitchFamily="2" charset="-122"/>
                <a:cs typeface="Arial" charset="0"/>
                <a:sym typeface="Arial" charset="0"/>
              </a:defRPr>
            </a:lvl1pPr>
          </a:lstStyle>
          <a:p>
            <a:pPr fontAlgn="base">
              <a:spcBef>
                <a:spcPct val="0"/>
              </a:spcBef>
              <a:spcAft>
                <a:spcPct val="0"/>
              </a:spcAft>
            </a:pPr>
            <a:fld id="{7EC33866-1B4C-40A0-BF14-CFBB9D642D16}" type="slidenum">
              <a:rPr lang="zh-CN" altLang="en-US" smtClean="0">
                <a:solidFill>
                  <a:srgbClr val="FFFFFF">
                    <a:lumMod val="50000"/>
                  </a:srgbClr>
                </a:solidFill>
              </a:rPr>
              <a:pPr fontAlgn="base">
                <a:spcBef>
                  <a:spcPct val="0"/>
                </a:spcBef>
                <a:spcAft>
                  <a:spcPct val="0"/>
                </a:spcAft>
              </a:pPr>
              <a:t>‹#›</a:t>
            </a:fld>
            <a:endParaRPr lang="en-US" altLang="zh-CN">
              <a:solidFill>
                <a:srgbClr val="FFFFFF">
                  <a:lumMod val="50000"/>
                </a:srgbClr>
              </a:solidFill>
            </a:endParaRPr>
          </a:p>
        </p:txBody>
      </p:sp>
      <p:sp>
        <p:nvSpPr>
          <p:cNvPr id="2050" name="Rectangle 2"/>
          <p:cNvSpPr>
            <a:spLocks noGrp="1" noChangeArrowheads="1"/>
          </p:cNvSpPr>
          <p:nvPr>
            <p:ph type="body" idx="1"/>
          </p:nvPr>
        </p:nvSpPr>
        <p:spPr bwMode="auto">
          <a:xfrm>
            <a:off x="184639" y="877104"/>
            <a:ext cx="8774723" cy="45905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t" anchorCtr="0" compatLnSpc="1">
            <a:prstTxWarp prst="textNoShape">
              <a:avLst/>
            </a:prstTxWarp>
          </a:bodyPr>
          <a:lstStyle/>
          <a:p>
            <a:pPr lvl="0"/>
            <a:r>
              <a:rPr lang="en-US" altLang="zh-CN" smtClean="0">
                <a:sym typeface="Arial Bold" charset="0"/>
              </a:rPr>
              <a:t>Click to edit Master text styles</a:t>
            </a:r>
          </a:p>
          <a:p>
            <a:pPr lvl="1"/>
            <a:r>
              <a:rPr lang="en-US" altLang="zh-CN" smtClean="0">
                <a:sym typeface="Arial Bold" charset="0"/>
              </a:rPr>
              <a:t>Second level</a:t>
            </a:r>
          </a:p>
          <a:p>
            <a:pPr lvl="2"/>
            <a:r>
              <a:rPr lang="en-US" altLang="zh-CN" smtClean="0">
                <a:sym typeface="Arial Bold" charset="0"/>
              </a:rPr>
              <a:t>Third level</a:t>
            </a:r>
          </a:p>
          <a:p>
            <a:pPr lvl="3"/>
            <a:r>
              <a:rPr lang="en-US" altLang="zh-CN" smtClean="0">
                <a:sym typeface="Arial Bold" charset="0"/>
              </a:rPr>
              <a:t>Fourth level</a:t>
            </a:r>
          </a:p>
          <a:p>
            <a:pPr lvl="4"/>
            <a:r>
              <a:rPr lang="en-US" altLang="zh-CN" smtClean="0">
                <a:sym typeface="Arial Bold" charset="0"/>
              </a:rPr>
              <a:t>Fifth level</a:t>
            </a:r>
            <a:endParaRPr lang="en-US" altLang="zh-CN" smtClean="0">
              <a:sym typeface="Arial" charset="0"/>
            </a:endParaRPr>
          </a:p>
        </p:txBody>
      </p:sp>
      <p:sp>
        <p:nvSpPr>
          <p:cNvPr id="2051" name="Rectangle 3"/>
          <p:cNvSpPr>
            <a:spLocks noGrp="1" noChangeArrowheads="1"/>
          </p:cNvSpPr>
          <p:nvPr>
            <p:ph type="title"/>
          </p:nvPr>
        </p:nvSpPr>
        <p:spPr bwMode="auto">
          <a:xfrm>
            <a:off x="52754" y="60854"/>
            <a:ext cx="6180992" cy="4868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44988" tIns="44988" rIns="80971" bIns="44988" numCol="1" anchor="t" anchorCtr="0" compatLnSpc="1">
            <a:prstTxWarp prst="textNoShape">
              <a:avLst/>
            </a:prstTxWarp>
          </a:bodyPr>
          <a:lstStyle/>
          <a:p>
            <a:pPr lvl="0"/>
            <a:r>
              <a:rPr lang="en-US" altLang="zh-CN" smtClean="0">
                <a:sym typeface="Lucida Grande" charset="0"/>
              </a:rPr>
              <a:t>Click to edit Master title style</a:t>
            </a:r>
          </a:p>
        </p:txBody>
      </p:sp>
      <p:sp>
        <p:nvSpPr>
          <p:cNvPr id="9" name="Rectangle 8"/>
          <p:cNvSpPr>
            <a:spLocks/>
          </p:cNvSpPr>
          <p:nvPr/>
        </p:nvSpPr>
        <p:spPr bwMode="auto">
          <a:xfrm>
            <a:off x="184837" y="5527347"/>
            <a:ext cx="286083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35991" bIns="0">
            <a:spAutoFit/>
          </a:bodyPr>
          <a:lstStyle/>
          <a:p>
            <a:pPr marL="35152" fontAlgn="base">
              <a:spcBef>
                <a:spcPct val="0"/>
              </a:spcBef>
              <a:spcAft>
                <a:spcPct val="0"/>
              </a:spcAft>
            </a:pPr>
            <a:r>
              <a:rPr lang="en-US" altLang="zh-CN" sz="1000" dirty="0" smtClean="0">
                <a:solidFill>
                  <a:srgbClr val="808080"/>
                </a:solidFill>
                <a:latin typeface="Arial Bold" charset="0"/>
                <a:ea typeface="宋体" pitchFamily="2" charset="-122"/>
                <a:cs typeface="Arial Bold" charset="0"/>
                <a:sym typeface="Arial Bold" charset="0"/>
              </a:rPr>
              <a:t>CAPSA Finance Workshop CAPSA </a:t>
            </a:r>
            <a:r>
              <a:rPr lang="zh-CN" altLang="en-US" sz="1000" dirty="0" smtClean="0">
                <a:solidFill>
                  <a:srgbClr val="808080"/>
                </a:solidFill>
                <a:latin typeface="Arial Bold" charset="0"/>
                <a:ea typeface="宋体" pitchFamily="2" charset="-122"/>
                <a:cs typeface="Arial Bold" charset="0"/>
                <a:sym typeface="Arial Bold" charset="0"/>
              </a:rPr>
              <a:t>财务研讨会</a:t>
            </a:r>
            <a:endParaRPr lang="en-US" altLang="zh-CN" sz="1000" dirty="0">
              <a:solidFill>
                <a:srgbClr val="808080"/>
              </a:solidFill>
              <a:latin typeface="Arial Bold" charset="0"/>
              <a:ea typeface="宋体" pitchFamily="2" charset="-122"/>
              <a:cs typeface="Arial Bold" charset="0"/>
              <a:sym typeface="Arial Bold" charset="0"/>
            </a:endParaRPr>
          </a:p>
        </p:txBody>
      </p:sp>
      <p:pic>
        <p:nvPicPr>
          <p:cNvPr id="8" name="图片 5"/>
          <p:cNvPicPr>
            <a:picLocks noChangeAspect="1"/>
          </p:cNvPicPr>
          <p:nvPr userDrawn="1"/>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764749"/>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Lst>
  <p:transition/>
  <p:timing>
    <p:tnLst>
      <p:par>
        <p:cTn id="1" dur="indefinite" restart="never" nodeType="tmRoot"/>
      </p:par>
    </p:tnLst>
  </p:timing>
  <p:hf hdr="0" ftr="0" dt="0"/>
  <p:txStyles>
    <p:titleStyle>
      <a:lvl1pPr marL="35152" algn="l" rtl="0" eaLnBrk="1" fontAlgn="base" hangingPunct="1">
        <a:spcBef>
          <a:spcPct val="0"/>
        </a:spcBef>
        <a:spcAft>
          <a:spcPct val="0"/>
        </a:spcAft>
        <a:defRPr sz="2000">
          <a:solidFill>
            <a:srgbClr val="D7191E"/>
          </a:solidFill>
          <a:latin typeface="+mj-lt"/>
          <a:ea typeface="+mj-ea"/>
          <a:cs typeface="+mj-cs"/>
          <a:sym typeface="Lucida Grande" charset="0"/>
        </a:defRPr>
      </a:lvl1pPr>
      <a:lvl2pPr marL="35152" algn="l" rtl="0" eaLnBrk="1" fontAlgn="base" hangingPunct="1">
        <a:spcBef>
          <a:spcPct val="0"/>
        </a:spcBef>
        <a:spcAft>
          <a:spcPct val="0"/>
        </a:spcAft>
        <a:defRPr sz="2000">
          <a:solidFill>
            <a:srgbClr val="D7191E"/>
          </a:solidFill>
          <a:latin typeface="Arial Black" pitchFamily="34" charset="0"/>
          <a:sym typeface="Lucida Grande" charset="0"/>
        </a:defRPr>
      </a:lvl2pPr>
      <a:lvl3pPr marL="35152" algn="l" rtl="0" eaLnBrk="1" fontAlgn="base" hangingPunct="1">
        <a:spcBef>
          <a:spcPct val="0"/>
        </a:spcBef>
        <a:spcAft>
          <a:spcPct val="0"/>
        </a:spcAft>
        <a:defRPr sz="2000">
          <a:solidFill>
            <a:srgbClr val="D7191E"/>
          </a:solidFill>
          <a:latin typeface="Arial Black" pitchFamily="34" charset="0"/>
          <a:sym typeface="Lucida Grande" charset="0"/>
        </a:defRPr>
      </a:lvl3pPr>
      <a:lvl4pPr marL="35152" algn="l" rtl="0" eaLnBrk="1" fontAlgn="base" hangingPunct="1">
        <a:spcBef>
          <a:spcPct val="0"/>
        </a:spcBef>
        <a:spcAft>
          <a:spcPct val="0"/>
        </a:spcAft>
        <a:defRPr sz="2000">
          <a:solidFill>
            <a:srgbClr val="D7191E"/>
          </a:solidFill>
          <a:latin typeface="Arial Black" pitchFamily="34" charset="0"/>
          <a:sym typeface="Lucida Grande" charset="0"/>
        </a:defRPr>
      </a:lvl4pPr>
      <a:lvl5pPr marL="35152" algn="l" rtl="0" eaLnBrk="1" fontAlgn="base" hangingPunct="1">
        <a:spcBef>
          <a:spcPct val="0"/>
        </a:spcBef>
        <a:spcAft>
          <a:spcPct val="0"/>
        </a:spcAft>
        <a:defRPr sz="2000">
          <a:solidFill>
            <a:srgbClr val="D7191E"/>
          </a:solidFill>
          <a:latin typeface="Arial Black" pitchFamily="34" charset="0"/>
          <a:sym typeface="Lucida Grande" charset="0"/>
        </a:defRPr>
      </a:lvl5pPr>
      <a:lvl6pPr marL="440099" algn="l" rtl="0" eaLnBrk="1" fontAlgn="base" hangingPunct="1">
        <a:spcBef>
          <a:spcPct val="0"/>
        </a:spcBef>
        <a:spcAft>
          <a:spcPct val="0"/>
        </a:spcAft>
        <a:defRPr sz="2000">
          <a:solidFill>
            <a:srgbClr val="D7191E"/>
          </a:solidFill>
          <a:latin typeface="Arial Black" pitchFamily="34" charset="0"/>
          <a:sym typeface="Lucida Grande" charset="0"/>
        </a:defRPr>
      </a:lvl6pPr>
      <a:lvl7pPr marL="845045" algn="l" rtl="0" eaLnBrk="1" fontAlgn="base" hangingPunct="1">
        <a:spcBef>
          <a:spcPct val="0"/>
        </a:spcBef>
        <a:spcAft>
          <a:spcPct val="0"/>
        </a:spcAft>
        <a:defRPr sz="2000">
          <a:solidFill>
            <a:srgbClr val="D7191E"/>
          </a:solidFill>
          <a:latin typeface="Arial Black" pitchFamily="34" charset="0"/>
          <a:sym typeface="Lucida Grande" charset="0"/>
        </a:defRPr>
      </a:lvl7pPr>
      <a:lvl8pPr marL="1249991" algn="l" rtl="0" eaLnBrk="1" fontAlgn="base" hangingPunct="1">
        <a:spcBef>
          <a:spcPct val="0"/>
        </a:spcBef>
        <a:spcAft>
          <a:spcPct val="0"/>
        </a:spcAft>
        <a:defRPr sz="2000">
          <a:solidFill>
            <a:srgbClr val="D7191E"/>
          </a:solidFill>
          <a:latin typeface="Arial Black" pitchFamily="34" charset="0"/>
          <a:sym typeface="Lucida Grande" charset="0"/>
        </a:defRPr>
      </a:lvl8pPr>
      <a:lvl9pPr marL="1654939" algn="l" rtl="0" eaLnBrk="1" fontAlgn="base" hangingPunct="1">
        <a:spcBef>
          <a:spcPct val="0"/>
        </a:spcBef>
        <a:spcAft>
          <a:spcPct val="0"/>
        </a:spcAft>
        <a:defRPr sz="2000">
          <a:solidFill>
            <a:srgbClr val="D7191E"/>
          </a:solidFill>
          <a:latin typeface="Arial Black" pitchFamily="34" charset="0"/>
          <a:sym typeface="Lucida Grande" charset="0"/>
        </a:defRPr>
      </a:lvl9pPr>
    </p:titleStyle>
    <p:bodyStyle>
      <a:lvl1pPr marL="314958" indent="-314958" algn="l" rtl="0" eaLnBrk="1" fontAlgn="base" hangingPunct="1">
        <a:lnSpc>
          <a:spcPct val="90000"/>
        </a:lnSpc>
        <a:spcBef>
          <a:spcPts val="798"/>
        </a:spcBef>
        <a:spcAft>
          <a:spcPct val="0"/>
        </a:spcAft>
        <a:buClr>
          <a:srgbClr val="00529C"/>
        </a:buClr>
        <a:buSzPct val="100000"/>
        <a:buFont typeface="Wingdings" pitchFamily="2" charset="2"/>
        <a:buChar char="u"/>
        <a:defRPr sz="1800" b="1">
          <a:solidFill>
            <a:srgbClr val="00529C"/>
          </a:solidFill>
          <a:latin typeface="+mn-lt"/>
          <a:ea typeface="+mn-ea"/>
          <a:cs typeface="+mn-cs"/>
          <a:sym typeface="Arial Bold" charset="0"/>
        </a:defRPr>
      </a:lvl1pPr>
      <a:lvl2pPr marL="714282" indent="-240437" algn="l" rtl="0" eaLnBrk="1" fontAlgn="base" hangingPunct="1">
        <a:lnSpc>
          <a:spcPct val="93000"/>
        </a:lnSpc>
        <a:spcBef>
          <a:spcPts val="266"/>
        </a:spcBef>
        <a:spcAft>
          <a:spcPct val="0"/>
        </a:spcAft>
        <a:buClr>
          <a:srgbClr val="000000"/>
        </a:buClr>
        <a:buSzPct val="100000"/>
        <a:buFont typeface="Wingdings" pitchFamily="2" charset="2"/>
        <a:buChar char="n"/>
        <a:defRPr>
          <a:solidFill>
            <a:schemeClr val="tx1"/>
          </a:solidFill>
          <a:latin typeface="+mn-lt"/>
          <a:ea typeface="华文细黑" pitchFamily="2" charset="-122"/>
          <a:sym typeface="Arial" charset="0"/>
        </a:defRPr>
      </a:lvl2pPr>
      <a:lvl3pPr marL="1100951" indent="-227784" algn="l" rtl="0" eaLnBrk="1" fontAlgn="base" hangingPunct="1">
        <a:lnSpc>
          <a:spcPct val="93000"/>
        </a:lnSpc>
        <a:spcBef>
          <a:spcPts val="355"/>
        </a:spcBef>
        <a:spcAft>
          <a:spcPct val="0"/>
        </a:spcAft>
        <a:buClr>
          <a:srgbClr val="000000"/>
        </a:buClr>
        <a:buSzPct val="100000"/>
        <a:buFont typeface="Arial" charset="0"/>
        <a:buChar char="–"/>
        <a:defRPr sz="1400">
          <a:solidFill>
            <a:srgbClr val="00529C"/>
          </a:solidFill>
          <a:latin typeface="+mn-lt"/>
          <a:ea typeface="华文细黑" pitchFamily="2" charset="-122"/>
          <a:sym typeface="Arial" charset="0"/>
        </a:defRPr>
      </a:lvl3pPr>
      <a:lvl4pPr marL="1417312" indent="-157480" algn="l" rtl="0" eaLnBrk="1" fontAlgn="base" hangingPunct="1">
        <a:lnSpc>
          <a:spcPct val="93000"/>
        </a:lnSpc>
        <a:spcBef>
          <a:spcPts val="176"/>
        </a:spcBef>
        <a:spcAft>
          <a:spcPct val="0"/>
        </a:spcAft>
        <a:buClr>
          <a:srgbClr val="000000"/>
        </a:buClr>
        <a:buSzPct val="100000"/>
        <a:buFont typeface="Arial" charset="0"/>
        <a:buChar char="»"/>
        <a:defRPr sz="1200" i="1">
          <a:solidFill>
            <a:schemeClr val="tx1"/>
          </a:solidFill>
          <a:latin typeface="+mn-lt"/>
          <a:ea typeface="华文细黑" pitchFamily="2" charset="-122"/>
          <a:sym typeface="Arial Italic" charset="0"/>
        </a:defRPr>
      </a:lvl4pPr>
      <a:lvl5pPr marL="1583230" algn="l" rtl="0" eaLnBrk="1" fontAlgn="base" hangingPunct="1">
        <a:lnSpc>
          <a:spcPct val="93000"/>
        </a:lnSpc>
        <a:spcBef>
          <a:spcPct val="0"/>
        </a:spcBef>
        <a:spcAft>
          <a:spcPct val="0"/>
        </a:spcAft>
        <a:buClr>
          <a:srgbClr val="000000"/>
        </a:buClr>
        <a:buSzPct val="100000"/>
        <a:buFont typeface="Arial" charset="0"/>
        <a:defRPr sz="1200">
          <a:solidFill>
            <a:srgbClr val="D7191E"/>
          </a:solidFill>
          <a:latin typeface="+mn-lt"/>
          <a:ea typeface="华文细黑" pitchFamily="2" charset="-122"/>
          <a:sym typeface="Arial" charset="0"/>
        </a:defRPr>
      </a:lvl5pPr>
      <a:lvl6pPr marL="1988176" algn="l" rtl="0" eaLnBrk="1" fontAlgn="base" hangingPunct="1">
        <a:lnSpc>
          <a:spcPct val="93000"/>
        </a:lnSpc>
        <a:spcBef>
          <a:spcPct val="0"/>
        </a:spcBef>
        <a:spcAft>
          <a:spcPct val="0"/>
        </a:spcAft>
        <a:buClr>
          <a:srgbClr val="000000"/>
        </a:buClr>
        <a:buSzPct val="100000"/>
        <a:buFont typeface="Arial" charset="0"/>
        <a:defRPr sz="1200">
          <a:solidFill>
            <a:srgbClr val="D7191E"/>
          </a:solidFill>
          <a:latin typeface="+mn-lt"/>
          <a:ea typeface="华文细黑" pitchFamily="2" charset="-122"/>
          <a:sym typeface="Arial" charset="0"/>
        </a:defRPr>
      </a:lvl6pPr>
      <a:lvl7pPr marL="2393122" algn="l" rtl="0" eaLnBrk="1" fontAlgn="base" hangingPunct="1">
        <a:lnSpc>
          <a:spcPct val="93000"/>
        </a:lnSpc>
        <a:spcBef>
          <a:spcPct val="0"/>
        </a:spcBef>
        <a:spcAft>
          <a:spcPct val="0"/>
        </a:spcAft>
        <a:buClr>
          <a:srgbClr val="000000"/>
        </a:buClr>
        <a:buSzPct val="100000"/>
        <a:buFont typeface="Arial" charset="0"/>
        <a:defRPr sz="1200">
          <a:solidFill>
            <a:srgbClr val="D7191E"/>
          </a:solidFill>
          <a:latin typeface="+mn-lt"/>
          <a:ea typeface="华文细黑" pitchFamily="2" charset="-122"/>
          <a:sym typeface="Arial" charset="0"/>
        </a:defRPr>
      </a:lvl7pPr>
      <a:lvl8pPr marL="2798069" algn="l" rtl="0" eaLnBrk="1" fontAlgn="base" hangingPunct="1">
        <a:lnSpc>
          <a:spcPct val="93000"/>
        </a:lnSpc>
        <a:spcBef>
          <a:spcPct val="0"/>
        </a:spcBef>
        <a:spcAft>
          <a:spcPct val="0"/>
        </a:spcAft>
        <a:buClr>
          <a:srgbClr val="000000"/>
        </a:buClr>
        <a:buSzPct val="100000"/>
        <a:buFont typeface="Arial" charset="0"/>
        <a:defRPr sz="1200">
          <a:solidFill>
            <a:srgbClr val="D7191E"/>
          </a:solidFill>
          <a:latin typeface="+mn-lt"/>
          <a:ea typeface="华文细黑" pitchFamily="2" charset="-122"/>
          <a:sym typeface="Arial" charset="0"/>
        </a:defRPr>
      </a:lvl8pPr>
      <a:lvl9pPr marL="3203018" algn="l" rtl="0" eaLnBrk="1" fontAlgn="base" hangingPunct="1">
        <a:lnSpc>
          <a:spcPct val="93000"/>
        </a:lnSpc>
        <a:spcBef>
          <a:spcPct val="0"/>
        </a:spcBef>
        <a:spcAft>
          <a:spcPct val="0"/>
        </a:spcAft>
        <a:buClr>
          <a:srgbClr val="000000"/>
        </a:buClr>
        <a:buSzPct val="100000"/>
        <a:buFont typeface="Arial" charset="0"/>
        <a:defRPr sz="1200">
          <a:solidFill>
            <a:srgbClr val="D7191E"/>
          </a:solidFill>
          <a:latin typeface="+mn-lt"/>
          <a:ea typeface="华文细黑" pitchFamily="2" charset="-122"/>
          <a:sym typeface="Arial" charset="0"/>
        </a:defRPr>
      </a:lvl9pPr>
    </p:bodyStyle>
    <p:otherStyle>
      <a:defPPr>
        <a:defRPr lang="en-US"/>
      </a:defPPr>
      <a:lvl1pPr marL="0" algn="l" defTabSz="809893" rtl="0" eaLnBrk="1" latinLnBrk="0" hangingPunct="1">
        <a:defRPr sz="1600" kern="1200">
          <a:solidFill>
            <a:schemeClr val="tx1"/>
          </a:solidFill>
          <a:latin typeface="+mn-lt"/>
          <a:ea typeface="+mn-ea"/>
          <a:cs typeface="+mn-cs"/>
        </a:defRPr>
      </a:lvl1pPr>
      <a:lvl2pPr marL="404946" algn="l" defTabSz="809893" rtl="0" eaLnBrk="1" latinLnBrk="0" hangingPunct="1">
        <a:defRPr sz="1600" kern="1200">
          <a:solidFill>
            <a:schemeClr val="tx1"/>
          </a:solidFill>
          <a:latin typeface="+mn-lt"/>
          <a:ea typeface="+mn-ea"/>
          <a:cs typeface="+mn-cs"/>
        </a:defRPr>
      </a:lvl2pPr>
      <a:lvl3pPr marL="809893" algn="l" defTabSz="809893" rtl="0" eaLnBrk="1" latinLnBrk="0" hangingPunct="1">
        <a:defRPr sz="1600" kern="1200">
          <a:solidFill>
            <a:schemeClr val="tx1"/>
          </a:solidFill>
          <a:latin typeface="+mn-lt"/>
          <a:ea typeface="+mn-ea"/>
          <a:cs typeface="+mn-cs"/>
        </a:defRPr>
      </a:lvl3pPr>
      <a:lvl4pPr marL="1214839" algn="l" defTabSz="809893" rtl="0" eaLnBrk="1" latinLnBrk="0" hangingPunct="1">
        <a:defRPr sz="1600" kern="1200">
          <a:solidFill>
            <a:schemeClr val="tx1"/>
          </a:solidFill>
          <a:latin typeface="+mn-lt"/>
          <a:ea typeface="+mn-ea"/>
          <a:cs typeface="+mn-cs"/>
        </a:defRPr>
      </a:lvl4pPr>
      <a:lvl5pPr marL="1619785" algn="l" defTabSz="809893" rtl="0" eaLnBrk="1" latinLnBrk="0" hangingPunct="1">
        <a:defRPr sz="1600" kern="1200">
          <a:solidFill>
            <a:schemeClr val="tx1"/>
          </a:solidFill>
          <a:latin typeface="+mn-lt"/>
          <a:ea typeface="+mn-ea"/>
          <a:cs typeface="+mn-cs"/>
        </a:defRPr>
      </a:lvl5pPr>
      <a:lvl6pPr marL="2024735" algn="l" defTabSz="809893" rtl="0" eaLnBrk="1" latinLnBrk="0" hangingPunct="1">
        <a:defRPr sz="1600" kern="1200">
          <a:solidFill>
            <a:schemeClr val="tx1"/>
          </a:solidFill>
          <a:latin typeface="+mn-lt"/>
          <a:ea typeface="+mn-ea"/>
          <a:cs typeface="+mn-cs"/>
        </a:defRPr>
      </a:lvl6pPr>
      <a:lvl7pPr marL="2429681" algn="l" defTabSz="809893" rtl="0" eaLnBrk="1" latinLnBrk="0" hangingPunct="1">
        <a:defRPr sz="1600" kern="1200">
          <a:solidFill>
            <a:schemeClr val="tx1"/>
          </a:solidFill>
          <a:latin typeface="+mn-lt"/>
          <a:ea typeface="+mn-ea"/>
          <a:cs typeface="+mn-cs"/>
        </a:defRPr>
      </a:lvl7pPr>
      <a:lvl8pPr marL="2834628" algn="l" defTabSz="809893" rtl="0" eaLnBrk="1" latinLnBrk="0" hangingPunct="1">
        <a:defRPr sz="1600" kern="1200">
          <a:solidFill>
            <a:schemeClr val="tx1"/>
          </a:solidFill>
          <a:latin typeface="+mn-lt"/>
          <a:ea typeface="+mn-ea"/>
          <a:cs typeface="+mn-cs"/>
        </a:defRPr>
      </a:lvl8pPr>
      <a:lvl9pPr marL="3239575" algn="l" defTabSz="809893"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4.jpeg"/><Relationship Id="rId7"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jpeg"/><Relationship Id="rId5" Type="http://schemas.openxmlformats.org/officeDocument/2006/relationships/image" Target="../media/image5.jpeg"/><Relationship Id="rId4" Type="http://schemas.microsoft.com/office/2007/relationships/hdphoto" Target="../media/hdphoto1.wdp"/><Relationship Id="rId9"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png"/><Relationship Id="rId1" Type="http://schemas.openxmlformats.org/officeDocument/2006/relationships/slideLayout" Target="../slideLayouts/slideLayout1.xml"/><Relationship Id="rId4" Type="http://schemas.microsoft.com/office/2007/relationships/hdphoto" Target="../media/hdphoto6.wdp"/></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41.png"/><Relationship Id="rId5" Type="http://schemas.openxmlformats.org/officeDocument/2006/relationships/image" Target="../media/image40.jpeg"/><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png"/><Relationship Id="rId1" Type="http://schemas.openxmlformats.org/officeDocument/2006/relationships/slideLayout" Target="../slideLayouts/slideLayout1.xml"/><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png"/><Relationship Id="rId1" Type="http://schemas.openxmlformats.org/officeDocument/2006/relationships/slideLayout" Target="../slideLayouts/slideLayout1.xml"/><Relationship Id="rId4" Type="http://schemas.openxmlformats.org/officeDocument/2006/relationships/image" Target="../media/image45.png"/></Relationships>
</file>

<file path=ppt/slides/_rels/slide1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1.png"/><Relationship Id="rId1" Type="http://schemas.openxmlformats.org/officeDocument/2006/relationships/slideLayout" Target="../slideLayouts/slideLayout1.xml"/><Relationship Id="rId5" Type="http://schemas.openxmlformats.org/officeDocument/2006/relationships/image" Target="../media/image11.jpeg"/><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7.jpeg"/><Relationship Id="rId1" Type="http://schemas.openxmlformats.org/officeDocument/2006/relationships/slideLayout" Target="../slideLayouts/slideLayout1.xml"/><Relationship Id="rId4" Type="http://schemas.openxmlformats.org/officeDocument/2006/relationships/image" Target="../media/image48.jpeg"/></Relationships>
</file>

<file path=ppt/slides/_rels/slide16.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image" Target="../media/image11.jpeg"/></Relationships>
</file>

<file path=ppt/slides/_rels/slide2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4.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png"/><Relationship Id="rId3" Type="http://schemas.openxmlformats.org/officeDocument/2006/relationships/image" Target="../media/image55.png"/><Relationship Id="rId7" Type="http://schemas.openxmlformats.org/officeDocument/2006/relationships/image" Target="../media/image59.jpeg"/><Relationship Id="rId12" Type="http://schemas.openxmlformats.org/officeDocument/2006/relationships/image" Target="../media/image64.jpe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jpeg"/><Relationship Id="rId4" Type="http://schemas.openxmlformats.org/officeDocument/2006/relationships/image" Target="../media/image56.png"/><Relationship Id="rId9" Type="http://schemas.openxmlformats.org/officeDocument/2006/relationships/image" Target="../media/image61.png"/></Relationships>
</file>

<file path=ppt/slides/_rels/slide2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69.png"/><Relationship Id="rId5" Type="http://schemas.openxmlformats.org/officeDocument/2006/relationships/image" Target="../media/image68.jpeg"/><Relationship Id="rId4" Type="http://schemas.openxmlformats.org/officeDocument/2006/relationships/image" Target="../media/image67.png"/></Relationships>
</file>

<file path=ppt/slides/_rels/slide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image" Target="../media/image14.jpeg"/><Relationship Id="rId7" Type="http://schemas.openxmlformats.org/officeDocument/2006/relationships/image" Target="../media/image18.png"/><Relationship Id="rId12" Type="http://schemas.openxmlformats.org/officeDocument/2006/relationships/image" Target="../media/image23.jpeg"/><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image" Target="../media/image1.png"/><Relationship Id="rId10" Type="http://schemas.openxmlformats.org/officeDocument/2006/relationships/image" Target="../media/image21.png"/><Relationship Id="rId4" Type="http://schemas.openxmlformats.org/officeDocument/2006/relationships/image" Target="../media/image15.jpeg"/><Relationship Id="rId9" Type="http://schemas.openxmlformats.org/officeDocument/2006/relationships/image" Target="../media/image20.png"/><Relationship Id="rId14" Type="http://schemas.openxmlformats.org/officeDocument/2006/relationships/image" Target="../media/image25.jpeg"/></Relationships>
</file>

<file path=ppt/slides/_rels/slide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jpe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9.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33.png"/><Relationship Id="rId7" Type="http://schemas.openxmlformats.org/officeDocument/2006/relationships/image" Target="../media/image35.png"/><Relationship Id="rId2" Type="http://schemas.openxmlformats.org/officeDocument/2006/relationships/image" Target="../media/image1.png"/><Relationship Id="rId1" Type="http://schemas.openxmlformats.org/officeDocument/2006/relationships/slideLayout" Target="../slideLayouts/slideLayout1.xml"/><Relationship Id="rId6" Type="http://schemas.microsoft.com/office/2007/relationships/hdphoto" Target="../media/hdphoto3.wdp"/><Relationship Id="rId5" Type="http://schemas.openxmlformats.org/officeDocument/2006/relationships/image" Target="../media/image34.png"/><Relationship Id="rId10" Type="http://schemas.microsoft.com/office/2007/relationships/hdphoto" Target="../media/hdphoto5.wdp"/><Relationship Id="rId4" Type="http://schemas.microsoft.com/office/2007/relationships/hdphoto" Target="../media/hdphoto2.wdp"/><Relationship Id="rId9"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alpha val="26000"/>
          </a:schemeClr>
        </a:solidFill>
        <a:effectLst/>
      </p:bgPr>
    </p:bg>
    <p:spTree>
      <p:nvGrpSpPr>
        <p:cNvPr id="1" name=""/>
        <p:cNvGrpSpPr/>
        <p:nvPr/>
      </p:nvGrpSpPr>
      <p:grpSpPr>
        <a:xfrm>
          <a:off x="0" y="0"/>
          <a:ext cx="0" cy="0"/>
          <a:chOff x="0" y="0"/>
          <a:chExt cx="0" cy="0"/>
        </a:xfrm>
      </p:grpSpPr>
      <p:grpSp>
        <p:nvGrpSpPr>
          <p:cNvPr id="2" name="组合 1"/>
          <p:cNvGrpSpPr/>
          <p:nvPr/>
        </p:nvGrpSpPr>
        <p:grpSpPr>
          <a:xfrm>
            <a:off x="0" y="1633366"/>
            <a:ext cx="9144000" cy="2679901"/>
            <a:chOff x="0" y="1633363"/>
            <a:chExt cx="9144000" cy="2679901"/>
          </a:xfrm>
        </p:grpSpPr>
        <p:sp>
          <p:nvSpPr>
            <p:cNvPr id="3" name="Rectangle 271"/>
            <p:cNvSpPr>
              <a:spLocks noChangeArrowheads="1"/>
            </p:cNvSpPr>
            <p:nvPr/>
          </p:nvSpPr>
          <p:spPr bwMode="auto">
            <a:xfrm>
              <a:off x="0" y="1633365"/>
              <a:ext cx="4067944" cy="2679899"/>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82" tIns="47891" rIns="95782" bIns="47891" anchor="ctr"/>
            <a:lstStyle/>
            <a:p>
              <a:pPr eaLnBrk="0" hangingPunct="0"/>
              <a:endParaRPr lang="zh-CN" altLang="zh-CN">
                <a:sym typeface="宋体" pitchFamily="2" charset="-122"/>
              </a:endParaRPr>
            </a:p>
          </p:txBody>
        </p:sp>
        <p:sp>
          <p:nvSpPr>
            <p:cNvPr id="4" name="Rectangle 2"/>
            <p:cNvSpPr>
              <a:spLocks noChangeArrowheads="1"/>
            </p:cNvSpPr>
            <p:nvPr/>
          </p:nvSpPr>
          <p:spPr bwMode="auto">
            <a:xfrm>
              <a:off x="287666" y="1934982"/>
              <a:ext cx="3780278" cy="2017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31982" rIns="95782" bIns="47891"/>
            <a:lstStyle/>
            <a:p>
              <a:pPr eaLnBrk="0" hangingPunct="0">
                <a:lnSpc>
                  <a:spcPct val="120000"/>
                </a:lnSpc>
              </a:pPr>
              <a:r>
                <a:rPr lang="zh-CN" altLang="en-US" sz="2800" dirty="0">
                  <a:solidFill>
                    <a:schemeClr val="bg1"/>
                  </a:solidFill>
                  <a:latin typeface="黑体" pitchFamily="49" charset="-122"/>
                  <a:ea typeface="黑体" pitchFamily="49" charset="-122"/>
                  <a:sym typeface="黑体" pitchFamily="49" charset="-122"/>
                </a:rPr>
                <a:t>长安标致雪铁龙</a:t>
              </a:r>
              <a:endParaRPr lang="en-US" altLang="zh-CN" sz="2800" dirty="0">
                <a:solidFill>
                  <a:schemeClr val="bg1"/>
                </a:solidFill>
                <a:latin typeface="黑体" pitchFamily="49" charset="-122"/>
                <a:ea typeface="黑体" pitchFamily="49" charset="-122"/>
                <a:sym typeface="黑体" pitchFamily="49" charset="-122"/>
              </a:endParaRPr>
            </a:p>
            <a:p>
              <a:pPr eaLnBrk="0" hangingPunct="0">
                <a:lnSpc>
                  <a:spcPct val="120000"/>
                </a:lnSpc>
              </a:pPr>
              <a:r>
                <a:rPr lang="zh-CN" altLang="en-US" sz="3600" dirty="0">
                  <a:solidFill>
                    <a:schemeClr val="bg1"/>
                  </a:solidFill>
                  <a:latin typeface="黑体" pitchFamily="49" charset="-122"/>
                  <a:ea typeface="黑体" pitchFamily="49" charset="-122"/>
                  <a:sym typeface="黑体" pitchFamily="49" charset="-122"/>
                </a:rPr>
                <a:t>企业介绍</a:t>
              </a:r>
              <a:endParaRPr lang="en-US" altLang="zh-CN" sz="3600" dirty="0">
                <a:solidFill>
                  <a:schemeClr val="bg1"/>
                </a:solidFill>
                <a:latin typeface="黑体" pitchFamily="49" charset="-122"/>
                <a:ea typeface="黑体" pitchFamily="49" charset="-122"/>
                <a:sym typeface="黑体" pitchFamily="49" charset="-122"/>
              </a:endParaRPr>
            </a:p>
            <a:p>
              <a:pPr eaLnBrk="0" hangingPunct="0">
                <a:lnSpc>
                  <a:spcPct val="120000"/>
                </a:lnSpc>
              </a:pPr>
              <a:r>
                <a:rPr lang="en-US" altLang="zh-CN" sz="2400" dirty="0">
                  <a:solidFill>
                    <a:schemeClr val="bg1"/>
                  </a:solidFill>
                  <a:latin typeface="微软雅黑" pitchFamily="34" charset="-122"/>
                  <a:ea typeface="微软雅黑" pitchFamily="34" charset="-122"/>
                  <a:cs typeface="Arial" pitchFamily="34" charset="0"/>
                  <a:sym typeface="黑体" pitchFamily="49" charset="-122"/>
                </a:rPr>
                <a:t>Introduction of CAPSA</a:t>
              </a:r>
            </a:p>
          </p:txBody>
        </p:sp>
        <p:sp>
          <p:nvSpPr>
            <p:cNvPr id="5" name="Rectangle 272"/>
            <p:cNvSpPr>
              <a:spLocks noChangeArrowheads="1"/>
            </p:cNvSpPr>
            <p:nvPr/>
          </p:nvSpPr>
          <p:spPr bwMode="auto">
            <a:xfrm>
              <a:off x="8604448" y="1633365"/>
              <a:ext cx="539552" cy="267989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82" tIns="47891" rIns="95782" bIns="47891" anchor="ctr"/>
            <a:lstStyle/>
            <a:p>
              <a:pPr eaLnBrk="0" hangingPunct="0"/>
              <a:endParaRPr lang="zh-CN" altLang="zh-CN">
                <a:sym typeface="宋体" pitchFamily="2" charset="-122"/>
              </a:endParaRPr>
            </a:p>
          </p:txBody>
        </p:sp>
        <p:sp>
          <p:nvSpPr>
            <p:cNvPr id="6" name="矩形 5"/>
            <p:cNvSpPr/>
            <p:nvPr/>
          </p:nvSpPr>
          <p:spPr>
            <a:xfrm>
              <a:off x="4115754" y="1633364"/>
              <a:ext cx="1440160" cy="13067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p:nvSpPr>
          <p:spPr>
            <a:xfrm>
              <a:off x="4115754" y="3002737"/>
              <a:ext cx="1440160" cy="13067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p:nvSpPr>
          <p:spPr>
            <a:xfrm>
              <a:off x="5592211" y="1633364"/>
              <a:ext cx="1440160" cy="1306795"/>
            </a:xfrm>
            <a:prstGeom prst="rect">
              <a:avLst/>
            </a:prstGeom>
            <a:gradFill>
              <a:gsLst>
                <a:gs pos="0">
                  <a:schemeClr val="accent1">
                    <a:lumMod val="40000"/>
                    <a:lumOff val="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5592211" y="3002737"/>
              <a:ext cx="1440160" cy="13067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p:nvSpPr>
          <p:spPr>
            <a:xfrm>
              <a:off x="7076046" y="3002737"/>
              <a:ext cx="1440160" cy="13067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片 15"/>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r="23342"/>
            <a:stretch/>
          </p:blipFill>
          <p:spPr>
            <a:xfrm>
              <a:off x="4115754" y="1633364"/>
              <a:ext cx="1440160" cy="1306795"/>
            </a:xfrm>
            <a:prstGeom prst="rect">
              <a:avLst/>
            </a:prstGeom>
          </p:spPr>
        </p:pic>
        <p:pic>
          <p:nvPicPr>
            <p:cNvPr id="23" name="Picture 8"/>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4343" r="67343" b="19209"/>
            <a:stretch/>
          </p:blipFill>
          <p:spPr bwMode="auto">
            <a:xfrm>
              <a:off x="4118830" y="3002737"/>
              <a:ext cx="1437084" cy="13105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8"/>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3636" t="14343" r="33637" b="19209"/>
            <a:stretch/>
          </p:blipFill>
          <p:spPr bwMode="auto">
            <a:xfrm>
              <a:off x="5592211" y="3002737"/>
              <a:ext cx="1440160" cy="13105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8"/>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67178" t="14343" b="19209"/>
            <a:stretch/>
          </p:blipFill>
          <p:spPr bwMode="auto">
            <a:xfrm>
              <a:off x="7076047" y="3002737"/>
              <a:ext cx="1444305" cy="13105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矩形 13"/>
            <p:cNvSpPr/>
            <p:nvPr/>
          </p:nvSpPr>
          <p:spPr>
            <a:xfrm>
              <a:off x="7092280" y="1633363"/>
              <a:ext cx="1440160" cy="13067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26" name="图片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541" y="4585696"/>
            <a:ext cx="787739" cy="787739"/>
          </a:xfrm>
          <a:prstGeom prst="rect">
            <a:avLst/>
          </a:prstGeom>
        </p:spPr>
      </p:pic>
      <p:sp>
        <p:nvSpPr>
          <p:cNvPr id="27" name="TextBox 26"/>
          <p:cNvSpPr txBox="1"/>
          <p:nvPr/>
        </p:nvSpPr>
        <p:spPr>
          <a:xfrm>
            <a:off x="1483279" y="4585694"/>
            <a:ext cx="2901443" cy="854058"/>
          </a:xfrm>
          <a:prstGeom prst="rect">
            <a:avLst/>
          </a:prstGeom>
          <a:noFill/>
        </p:spPr>
        <p:txBody>
          <a:bodyPr wrap="square" lIns="91419" tIns="45709" rIns="91419" bIns="45709" rtlCol="0">
            <a:spAutoFit/>
          </a:bodyPr>
          <a:lstStyle/>
          <a:p>
            <a:pPr>
              <a:lnSpc>
                <a:spcPct val="150000"/>
              </a:lnSpc>
            </a:pPr>
            <a:r>
              <a:rPr lang="zh-CN" altLang="en-US" sz="1100" dirty="0">
                <a:solidFill>
                  <a:schemeClr val="bg1">
                    <a:lumMod val="65000"/>
                  </a:schemeClr>
                </a:solidFill>
                <a:latin typeface="微软雅黑" pitchFamily="34" charset="-122"/>
                <a:ea typeface="微软雅黑" pitchFamily="34" charset="-122"/>
              </a:rPr>
              <a:t>地址：深圳市龙华区观澜观光路</a:t>
            </a:r>
            <a:r>
              <a:rPr lang="en-US" altLang="zh-CN" sz="1100" dirty="0">
                <a:solidFill>
                  <a:schemeClr val="bg1">
                    <a:lumMod val="65000"/>
                  </a:schemeClr>
                </a:solidFill>
                <a:latin typeface="微软雅黑" pitchFamily="34" charset="-122"/>
                <a:ea typeface="微软雅黑" pitchFamily="34" charset="-122"/>
              </a:rPr>
              <a:t>1226</a:t>
            </a:r>
            <a:r>
              <a:rPr lang="zh-CN" altLang="en-US" sz="1100" dirty="0">
                <a:solidFill>
                  <a:schemeClr val="bg1">
                    <a:lumMod val="65000"/>
                  </a:schemeClr>
                </a:solidFill>
                <a:latin typeface="微软雅黑" pitchFamily="34" charset="-122"/>
                <a:ea typeface="微软雅黑" pitchFamily="34" charset="-122"/>
              </a:rPr>
              <a:t>号</a:t>
            </a:r>
            <a:endParaRPr lang="en-US" altLang="zh-CN" sz="1100" dirty="0">
              <a:solidFill>
                <a:schemeClr val="bg1">
                  <a:lumMod val="65000"/>
                </a:schemeClr>
              </a:solidFill>
              <a:latin typeface="微软雅黑" pitchFamily="34" charset="-122"/>
              <a:ea typeface="微软雅黑" pitchFamily="34" charset="-122"/>
            </a:endParaRPr>
          </a:p>
          <a:p>
            <a:pPr>
              <a:lnSpc>
                <a:spcPct val="150000"/>
              </a:lnSpc>
            </a:pPr>
            <a:r>
              <a:rPr lang="zh-CN" altLang="en-US" sz="1100" dirty="0">
                <a:solidFill>
                  <a:schemeClr val="bg1">
                    <a:lumMod val="65000"/>
                  </a:schemeClr>
                </a:solidFill>
                <a:latin typeface="微软雅黑" pitchFamily="34" charset="-122"/>
                <a:ea typeface="微软雅黑" pitchFamily="34" charset="-122"/>
              </a:rPr>
              <a:t>微信：长安标致雪铁龙（</a:t>
            </a:r>
            <a:r>
              <a:rPr lang="en-US" altLang="zh-CN" sz="1100" dirty="0">
                <a:solidFill>
                  <a:schemeClr val="bg1">
                    <a:lumMod val="65000"/>
                  </a:schemeClr>
                </a:solidFill>
                <a:latin typeface="微软雅黑" pitchFamily="34" charset="-122"/>
                <a:ea typeface="微软雅黑" pitchFamily="34" charset="-122"/>
              </a:rPr>
              <a:t>CAPSANews</a:t>
            </a:r>
            <a:r>
              <a:rPr lang="zh-CN" altLang="en-US" sz="1100" dirty="0">
                <a:solidFill>
                  <a:schemeClr val="bg1">
                    <a:lumMod val="65000"/>
                  </a:schemeClr>
                </a:solidFill>
                <a:latin typeface="微软雅黑" pitchFamily="34" charset="-122"/>
                <a:ea typeface="微软雅黑" pitchFamily="34" charset="-122"/>
              </a:rPr>
              <a:t>）</a:t>
            </a:r>
            <a:endParaRPr lang="en-US" altLang="zh-CN" sz="1100" dirty="0">
              <a:solidFill>
                <a:schemeClr val="bg1">
                  <a:lumMod val="65000"/>
                </a:schemeClr>
              </a:solidFill>
              <a:latin typeface="微软雅黑" pitchFamily="34" charset="-122"/>
              <a:ea typeface="微软雅黑" pitchFamily="34" charset="-122"/>
            </a:endParaRPr>
          </a:p>
          <a:p>
            <a:pPr>
              <a:lnSpc>
                <a:spcPct val="150000"/>
              </a:lnSpc>
            </a:pPr>
            <a:r>
              <a:rPr lang="zh-CN" altLang="en-US" sz="1100" dirty="0">
                <a:solidFill>
                  <a:schemeClr val="bg1">
                    <a:lumMod val="65000"/>
                  </a:schemeClr>
                </a:solidFill>
                <a:latin typeface="微软雅黑" pitchFamily="34" charset="-122"/>
                <a:ea typeface="微软雅黑" pitchFamily="34" charset="-122"/>
              </a:rPr>
              <a:t>官网：</a:t>
            </a:r>
            <a:r>
              <a:rPr lang="en-US" altLang="zh-CN" sz="1100" dirty="0">
                <a:solidFill>
                  <a:schemeClr val="bg1">
                    <a:lumMod val="65000"/>
                  </a:schemeClr>
                </a:solidFill>
                <a:latin typeface="微软雅黑" pitchFamily="34" charset="-122"/>
                <a:ea typeface="微软雅黑" pitchFamily="34" charset="-122"/>
              </a:rPr>
              <a:t>http://www.ds.com.cn/web/</a:t>
            </a:r>
          </a:p>
        </p:txBody>
      </p:sp>
      <p:pic>
        <p:nvPicPr>
          <p:cNvPr id="28" name="图片 5"/>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6732240" y="344317"/>
            <a:ext cx="1711958" cy="856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0" name="Picture 4"/>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44336" t="13498" r="12633" b="26436"/>
          <a:stretch/>
        </p:blipFill>
        <p:spPr bwMode="auto">
          <a:xfrm>
            <a:off x="7076049" y="1633368"/>
            <a:ext cx="1440160" cy="1339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7218799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5"/>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697132" y="625254"/>
            <a:ext cx="2074668" cy="615531"/>
          </a:xfrm>
          <a:prstGeom prst="rect">
            <a:avLst/>
          </a:prstGeom>
          <a:noFill/>
        </p:spPr>
        <p:txBody>
          <a:bodyPr wrap="square" lIns="91419" tIns="45709" rIns="91419" bIns="45709" rtlCol="0">
            <a:spAutoFit/>
          </a:bodyPr>
          <a:lstStyle/>
          <a:p>
            <a:r>
              <a:rPr lang="zh-CN" altLang="en-US" sz="2000" b="1" dirty="0">
                <a:solidFill>
                  <a:srgbClr val="C00000"/>
                </a:solidFill>
                <a:latin typeface="微软雅黑" pitchFamily="34" charset="-122"/>
                <a:ea typeface="微软雅黑" pitchFamily="34" charset="-122"/>
              </a:rPr>
              <a:t>冲压车间</a:t>
            </a:r>
            <a:endParaRPr lang="en-US" altLang="zh-CN" sz="2000" b="1" dirty="0">
              <a:solidFill>
                <a:srgbClr val="C00000"/>
              </a:solidFill>
              <a:latin typeface="微软雅黑" pitchFamily="34" charset="-122"/>
              <a:ea typeface="微软雅黑" pitchFamily="34" charset="-122"/>
            </a:endParaRPr>
          </a:p>
          <a:p>
            <a:r>
              <a:rPr lang="en-US" altLang="zh-CN" sz="1400" b="1" dirty="0">
                <a:solidFill>
                  <a:srgbClr val="C00000"/>
                </a:solidFill>
                <a:latin typeface="微软雅黑" pitchFamily="34" charset="-122"/>
                <a:ea typeface="微软雅黑" pitchFamily="34" charset="-122"/>
                <a:sym typeface="黑体" pitchFamily="49" charset="-122"/>
              </a:rPr>
              <a:t>Stamping</a:t>
            </a:r>
            <a:endParaRPr lang="en-US" altLang="zh-CN" sz="1400" b="1" dirty="0">
              <a:solidFill>
                <a:srgbClr val="C00000"/>
              </a:solidFill>
              <a:latin typeface="微软雅黑" pitchFamily="34" charset="-122"/>
              <a:ea typeface="微软雅黑" pitchFamily="34" charset="-122"/>
              <a:cs typeface="Arial" pitchFamily="34" charset="0"/>
              <a:sym typeface="黑体" pitchFamily="49" charset="-122"/>
            </a:endParaRPr>
          </a:p>
        </p:txBody>
      </p:sp>
      <p:sp>
        <p:nvSpPr>
          <p:cNvPr id="6"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sp>
        <p:nvSpPr>
          <p:cNvPr id="10" name="灯片编号占位符 1"/>
          <p:cNvSpPr>
            <a:spLocks noGrp="1"/>
          </p:cNvSpPr>
          <p:nvPr>
            <p:ph type="sldNum" sz="quarter" idx="10"/>
          </p:nvPr>
        </p:nvSpPr>
        <p:spPr>
          <a:xfrm>
            <a:off x="8651507" y="5343123"/>
            <a:ext cx="36004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fld id="{A6C54AB4-FD64-4F86-9BF0-7210CD94CCAC}" type="slidenum">
              <a:rPr lang="zh-CN" altLang="en-US" sz="1000">
                <a:solidFill>
                  <a:srgbClr val="7F7F7F"/>
                </a:solidFill>
                <a:latin typeface="微软雅黑" pitchFamily="34" charset="-122"/>
                <a:ea typeface="微软雅黑" pitchFamily="34" charset="-122"/>
              </a:rPr>
              <a:pPr algn="ctr"/>
              <a:t>10</a:t>
            </a:fld>
            <a:endParaRPr lang="zh-CN" altLang="en-US" sz="1000" dirty="0">
              <a:solidFill>
                <a:srgbClr val="7F7F7F"/>
              </a:solidFill>
              <a:latin typeface="微软雅黑" pitchFamily="34" charset="-122"/>
              <a:ea typeface="微软雅黑" pitchFamily="34" charset="-122"/>
            </a:endParaRPr>
          </a:p>
        </p:txBody>
      </p:sp>
      <p:pic>
        <p:nvPicPr>
          <p:cNvPr id="27" name="Picture 4"/>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697133" y="1680559"/>
            <a:ext cx="5459044" cy="3049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矩形 27"/>
          <p:cNvSpPr/>
          <p:nvPr/>
        </p:nvSpPr>
        <p:spPr bwMode="auto">
          <a:xfrm>
            <a:off x="5622925" y="1608554"/>
            <a:ext cx="3106886" cy="3409189"/>
          </a:xfrm>
          <a:prstGeom prst="rect">
            <a:avLst/>
          </a:prstGeom>
          <a:gradFill>
            <a:gsLst>
              <a:gs pos="0">
                <a:schemeClr val="bg1">
                  <a:lumMod val="75000"/>
                  <a:alpha val="40000"/>
                </a:schemeClr>
              </a:gs>
              <a:gs pos="50000">
                <a:schemeClr val="bg1">
                  <a:lumMod val="65000"/>
                  <a:alpha val="69000"/>
                </a:schemeClr>
              </a:gs>
              <a:gs pos="100000">
                <a:schemeClr val="accent1">
                  <a:tint val="23500"/>
                  <a:satMod val="160000"/>
                  <a:alpha val="56000"/>
                </a:schemeClr>
              </a:gs>
            </a:gsLst>
            <a:lin ang="5400000" scaled="0"/>
          </a:gradFill>
          <a:ln w="9525" cap="flat" cmpd="sng" algn="ctr">
            <a:noFill/>
            <a:prstDash val="solid"/>
            <a:round/>
            <a:headEnd type="none" w="med" len="med"/>
            <a:tailEnd type="none" w="med" len="med"/>
          </a:ln>
          <a:effectLst/>
          <a:extLst/>
        </p:spPr>
        <p:txBody>
          <a:bodyPr lIns="91419" tIns="45709" rIns="91419" bIns="45709"/>
          <a:lstStyle/>
          <a:p>
            <a:pPr eaLnBrk="0" hangingPunct="0">
              <a:defRPr/>
            </a:pPr>
            <a:endParaRPr lang="zh-CN" altLang="en-US" sz="2000">
              <a:solidFill>
                <a:srgbClr val="000000"/>
              </a:solidFill>
              <a:latin typeface="CorpoS" pitchFamily="2" charset="0"/>
            </a:endParaRPr>
          </a:p>
        </p:txBody>
      </p:sp>
      <p:sp>
        <p:nvSpPr>
          <p:cNvPr id="29" name="TextBox 1"/>
          <p:cNvSpPr txBox="1">
            <a:spLocks noChangeArrowheads="1"/>
          </p:cNvSpPr>
          <p:nvPr/>
        </p:nvSpPr>
        <p:spPr bwMode="auto">
          <a:xfrm>
            <a:off x="5855525" y="1680562"/>
            <a:ext cx="2795985" cy="3127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9" tIns="45709" rIns="91419" bIns="45709">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lnSpc>
                <a:spcPct val="150000"/>
              </a:lnSpc>
            </a:pPr>
            <a:r>
              <a:rPr lang="zh-CN" altLang="en-US" sz="1100" dirty="0">
                <a:solidFill>
                  <a:srgbClr val="000000"/>
                </a:solidFill>
                <a:latin typeface="微软雅黑" pitchFamily="34" charset="-122"/>
                <a:ea typeface="微软雅黑" pitchFamily="34" charset="-122"/>
              </a:rPr>
              <a:t>■ </a:t>
            </a:r>
            <a:r>
              <a:rPr lang="zh-CN" altLang="en-US" sz="1000" b="1" dirty="0">
                <a:solidFill>
                  <a:srgbClr val="000000"/>
                </a:solidFill>
                <a:latin typeface="微软雅黑" pitchFamily="34" charset="-122"/>
                <a:ea typeface="微软雅黑" pitchFamily="34" charset="-122"/>
              </a:rPr>
              <a:t>建筑面积</a:t>
            </a:r>
            <a:r>
              <a:rPr lang="en-US" altLang="zh-CN" sz="1000" b="1" dirty="0">
                <a:solidFill>
                  <a:srgbClr val="000000"/>
                </a:solidFill>
                <a:latin typeface="微软雅黑" pitchFamily="34" charset="-122"/>
                <a:ea typeface="微软雅黑" pitchFamily="34" charset="-122"/>
              </a:rPr>
              <a:t>Phase one</a:t>
            </a:r>
            <a:r>
              <a:rPr lang="zh-CN" altLang="en-US" sz="1000" dirty="0">
                <a:solidFill>
                  <a:srgbClr val="000000"/>
                </a:solidFill>
                <a:latin typeface="微软雅黑" pitchFamily="34" charset="-122"/>
                <a:ea typeface="微软雅黑" pitchFamily="34" charset="-122"/>
              </a:rPr>
              <a:t>：</a:t>
            </a:r>
            <a:r>
              <a:rPr lang="en-US" altLang="zh-CN" sz="1000" dirty="0">
                <a:solidFill>
                  <a:srgbClr val="000000"/>
                </a:solidFill>
                <a:latin typeface="微软雅黑" pitchFamily="34" charset="-122"/>
                <a:ea typeface="微软雅黑" pitchFamily="34" charset="-122"/>
              </a:rPr>
              <a:t>10080M</a:t>
            </a:r>
            <a:r>
              <a:rPr lang="en-US" altLang="zh-CN" sz="1000" baseline="30000" dirty="0">
                <a:solidFill>
                  <a:srgbClr val="000000"/>
                </a:solidFill>
                <a:latin typeface="微软雅黑" pitchFamily="34" charset="-122"/>
                <a:ea typeface="微软雅黑" pitchFamily="34" charset="-122"/>
              </a:rPr>
              <a:t>2</a:t>
            </a:r>
          </a:p>
          <a:p>
            <a:pPr eaLnBrk="0" hangingPunct="0">
              <a:lnSpc>
                <a:spcPct val="150000"/>
              </a:lnSpc>
            </a:pPr>
            <a:r>
              <a:rPr lang="zh-CN" altLang="en-US" sz="1100" dirty="0">
                <a:solidFill>
                  <a:srgbClr val="000000"/>
                </a:solidFill>
                <a:latin typeface="微软雅黑" pitchFamily="34" charset="-122"/>
                <a:ea typeface="微软雅黑" pitchFamily="34" charset="-122"/>
              </a:rPr>
              <a:t>■ </a:t>
            </a:r>
            <a:r>
              <a:rPr lang="zh-CN" altLang="en-US" sz="1000" b="1" dirty="0">
                <a:solidFill>
                  <a:srgbClr val="000000"/>
                </a:solidFill>
                <a:latin typeface="微软雅黑" pitchFamily="34" charset="-122"/>
                <a:ea typeface="微软雅黑" pitchFamily="34" charset="-122"/>
              </a:rPr>
              <a:t>生产能力</a:t>
            </a:r>
            <a:r>
              <a:rPr lang="en-US" altLang="zh-CN" sz="1000" b="1" dirty="0">
                <a:solidFill>
                  <a:srgbClr val="000000"/>
                </a:solidFill>
                <a:latin typeface="微软雅黑" pitchFamily="34" charset="-122"/>
                <a:ea typeface="微软雅黑" pitchFamily="34" charset="-122"/>
              </a:rPr>
              <a:t>production Capacity</a:t>
            </a:r>
            <a:r>
              <a:rPr lang="zh-CN" altLang="en-US" sz="1000" dirty="0">
                <a:solidFill>
                  <a:srgbClr val="000000"/>
                </a:solidFill>
                <a:latin typeface="微软雅黑" pitchFamily="34" charset="-122"/>
                <a:ea typeface="微软雅黑" pitchFamily="34" charset="-122"/>
              </a:rPr>
              <a:t>：</a:t>
            </a:r>
            <a:r>
              <a:rPr lang="en-US" altLang="zh-CN" sz="1000" dirty="0">
                <a:solidFill>
                  <a:srgbClr val="000000"/>
                </a:solidFill>
                <a:latin typeface="微软雅黑" pitchFamily="34" charset="-122"/>
                <a:ea typeface="微软雅黑" pitchFamily="34" charset="-122"/>
              </a:rPr>
              <a:t>10</a:t>
            </a:r>
            <a:r>
              <a:rPr lang="zh-CN" altLang="en-US" sz="1000" dirty="0">
                <a:solidFill>
                  <a:srgbClr val="000000"/>
                </a:solidFill>
                <a:latin typeface="微软雅黑" pitchFamily="34" charset="-122"/>
                <a:ea typeface="微软雅黑" pitchFamily="34" charset="-122"/>
              </a:rPr>
              <a:t>万台</a:t>
            </a:r>
            <a:r>
              <a:rPr lang="en-US" altLang="zh-CN" sz="1000" dirty="0">
                <a:solidFill>
                  <a:srgbClr val="000000"/>
                </a:solidFill>
                <a:latin typeface="微软雅黑" pitchFamily="34" charset="-122"/>
                <a:ea typeface="微软雅黑" pitchFamily="34" charset="-122"/>
              </a:rPr>
              <a:t>/</a:t>
            </a:r>
            <a:r>
              <a:rPr lang="zh-CN" altLang="en-US" sz="1000" dirty="0">
                <a:solidFill>
                  <a:srgbClr val="000000"/>
                </a:solidFill>
                <a:latin typeface="微软雅黑" pitchFamily="34" charset="-122"/>
                <a:ea typeface="微软雅黑" pitchFamily="34" charset="-122"/>
              </a:rPr>
              <a:t>年 </a:t>
            </a:r>
            <a:r>
              <a:rPr lang="en-US" altLang="zh-CN" sz="1000" dirty="0">
                <a:solidFill>
                  <a:srgbClr val="000000"/>
                </a:solidFill>
                <a:latin typeface="微软雅黑" pitchFamily="34" charset="-122"/>
                <a:ea typeface="微软雅黑" pitchFamily="34" charset="-122"/>
              </a:rPr>
              <a:t>100,000 units/year</a:t>
            </a:r>
          </a:p>
          <a:p>
            <a:pPr eaLnBrk="0" hangingPunct="0">
              <a:lnSpc>
                <a:spcPct val="150000"/>
              </a:lnSpc>
            </a:pPr>
            <a:r>
              <a:rPr lang="zh-CN" altLang="en-US" sz="1100" b="1" dirty="0">
                <a:solidFill>
                  <a:srgbClr val="000000"/>
                </a:solidFill>
                <a:latin typeface="微软雅黑" pitchFamily="34" charset="-122"/>
                <a:ea typeface="微软雅黑" pitchFamily="34" charset="-122"/>
              </a:rPr>
              <a:t>■ </a:t>
            </a:r>
            <a:r>
              <a:rPr lang="zh-CN" altLang="en-US" sz="1000" b="1" dirty="0">
                <a:solidFill>
                  <a:srgbClr val="000000"/>
                </a:solidFill>
                <a:latin typeface="微软雅黑" pitchFamily="34" charset="-122"/>
                <a:ea typeface="微软雅黑" pitchFamily="34" charset="-122"/>
              </a:rPr>
              <a:t>生产效率</a:t>
            </a:r>
            <a:r>
              <a:rPr lang="en-US" altLang="zh-CN" sz="1000" b="1" dirty="0">
                <a:solidFill>
                  <a:srgbClr val="000000"/>
                </a:solidFill>
                <a:latin typeface="微软雅黑" pitchFamily="34" charset="-122"/>
                <a:ea typeface="微软雅黑" pitchFamily="34" charset="-122"/>
              </a:rPr>
              <a:t>production Efficiency</a:t>
            </a:r>
          </a:p>
          <a:p>
            <a:pPr eaLnBrk="0" hangingPunct="0">
              <a:lnSpc>
                <a:spcPct val="150000"/>
              </a:lnSpc>
            </a:pPr>
            <a:r>
              <a:rPr lang="zh-CN" altLang="en-US" sz="1000" dirty="0">
                <a:solidFill>
                  <a:srgbClr val="000000"/>
                </a:solidFill>
                <a:latin typeface="微软雅黑" pitchFamily="34" charset="-122"/>
                <a:ea typeface="微软雅黑" pitchFamily="34" charset="-122"/>
              </a:rPr>
              <a:t>自动化设计生产节拍</a:t>
            </a:r>
            <a:r>
              <a:rPr lang="en-US" altLang="zh-CN" sz="1000" dirty="0">
                <a:solidFill>
                  <a:srgbClr val="000000"/>
                </a:solidFill>
                <a:latin typeface="微软雅黑" pitchFamily="34" charset="-122"/>
                <a:ea typeface="微软雅黑" pitchFamily="34" charset="-122"/>
              </a:rPr>
              <a:t>10-16</a:t>
            </a:r>
            <a:r>
              <a:rPr lang="zh-CN" altLang="en-US" sz="1000" dirty="0">
                <a:solidFill>
                  <a:srgbClr val="000000"/>
                </a:solidFill>
                <a:latin typeface="微软雅黑" pitchFamily="34" charset="-122"/>
                <a:ea typeface="微软雅黑" pitchFamily="34" charset="-122"/>
              </a:rPr>
              <a:t>次</a:t>
            </a:r>
            <a:r>
              <a:rPr lang="en-US" altLang="zh-CN" sz="1000" dirty="0">
                <a:solidFill>
                  <a:srgbClr val="000000"/>
                </a:solidFill>
                <a:latin typeface="微软雅黑" pitchFamily="34" charset="-122"/>
                <a:ea typeface="微软雅黑" pitchFamily="34" charset="-122"/>
              </a:rPr>
              <a:t>/</a:t>
            </a:r>
            <a:r>
              <a:rPr lang="zh-CN" altLang="en-US" sz="1000" dirty="0">
                <a:solidFill>
                  <a:srgbClr val="000000"/>
                </a:solidFill>
                <a:latin typeface="微软雅黑" pitchFamily="34" charset="-122"/>
                <a:ea typeface="微软雅黑" pitchFamily="34" charset="-122"/>
              </a:rPr>
              <a:t>分，实际运营达</a:t>
            </a:r>
            <a:r>
              <a:rPr lang="en-US" altLang="zh-CN" sz="1100" b="1" dirty="0">
                <a:solidFill>
                  <a:srgbClr val="C00000"/>
                </a:solidFill>
                <a:latin typeface="微软雅黑" pitchFamily="34" charset="-122"/>
                <a:ea typeface="微软雅黑" pitchFamily="34" charset="-122"/>
              </a:rPr>
              <a:t>12.8</a:t>
            </a:r>
            <a:r>
              <a:rPr lang="zh-CN" altLang="en-US" sz="1100" b="1" dirty="0">
                <a:solidFill>
                  <a:srgbClr val="C00000"/>
                </a:solidFill>
                <a:latin typeface="微软雅黑" pitchFamily="34" charset="-122"/>
                <a:ea typeface="微软雅黑" pitchFamily="34" charset="-122"/>
              </a:rPr>
              <a:t>次</a:t>
            </a:r>
            <a:r>
              <a:rPr lang="en-US" altLang="zh-CN" sz="1100" b="1" dirty="0">
                <a:solidFill>
                  <a:srgbClr val="C00000"/>
                </a:solidFill>
                <a:latin typeface="微软雅黑" pitchFamily="34" charset="-122"/>
                <a:ea typeface="微软雅黑" pitchFamily="34" charset="-122"/>
              </a:rPr>
              <a:t>/</a:t>
            </a:r>
            <a:r>
              <a:rPr lang="zh-CN" altLang="en-US" sz="1100" b="1" dirty="0">
                <a:solidFill>
                  <a:srgbClr val="C00000"/>
                </a:solidFill>
                <a:latin typeface="微软雅黑" pitchFamily="34" charset="-122"/>
                <a:ea typeface="微软雅黑" pitchFamily="34" charset="-122"/>
              </a:rPr>
              <a:t>分</a:t>
            </a:r>
            <a:r>
              <a:rPr lang="zh-CN" altLang="en-US" sz="1000" b="1" dirty="0">
                <a:solidFill>
                  <a:srgbClr val="000000"/>
                </a:solidFill>
                <a:latin typeface="微软雅黑" pitchFamily="34" charset="-122"/>
                <a:ea typeface="微软雅黑" pitchFamily="34" charset="-122"/>
              </a:rPr>
              <a:t>，</a:t>
            </a:r>
            <a:r>
              <a:rPr lang="zh-CN" altLang="en-US" sz="1000" dirty="0">
                <a:solidFill>
                  <a:srgbClr val="000000"/>
                </a:solidFill>
                <a:latin typeface="微软雅黑" pitchFamily="34" charset="-122"/>
                <a:ea typeface="微软雅黑" pitchFamily="34" charset="-122"/>
              </a:rPr>
              <a:t>超越国内行业指标</a:t>
            </a:r>
            <a:r>
              <a:rPr lang="en-US" altLang="zh-CN" sz="1000" b="1" dirty="0">
                <a:solidFill>
                  <a:srgbClr val="C00000"/>
                </a:solidFill>
                <a:latin typeface="微软雅黑" pitchFamily="34" charset="-122"/>
                <a:ea typeface="微软雅黑" pitchFamily="34" charset="-122"/>
              </a:rPr>
              <a:t>11.5</a:t>
            </a:r>
            <a:r>
              <a:rPr lang="zh-CN" altLang="en-US" sz="1000" b="1" dirty="0">
                <a:solidFill>
                  <a:srgbClr val="C00000"/>
                </a:solidFill>
                <a:latin typeface="微软雅黑" pitchFamily="34" charset="-122"/>
                <a:ea typeface="微软雅黑" pitchFamily="34" charset="-122"/>
              </a:rPr>
              <a:t>次</a:t>
            </a:r>
            <a:r>
              <a:rPr lang="en-US" altLang="zh-CN" sz="1000" b="1" dirty="0">
                <a:solidFill>
                  <a:srgbClr val="C00000"/>
                </a:solidFill>
                <a:latin typeface="微软雅黑" pitchFamily="34" charset="-122"/>
                <a:ea typeface="微软雅黑" pitchFamily="34" charset="-122"/>
              </a:rPr>
              <a:t>/</a:t>
            </a:r>
            <a:r>
              <a:rPr lang="zh-CN" altLang="en-US" sz="1000" b="1" dirty="0">
                <a:solidFill>
                  <a:srgbClr val="C00000"/>
                </a:solidFill>
                <a:latin typeface="微软雅黑" pitchFamily="34" charset="-122"/>
                <a:ea typeface="微软雅黑" pitchFamily="34" charset="-122"/>
              </a:rPr>
              <a:t>分</a:t>
            </a:r>
            <a:r>
              <a:rPr lang="zh-CN" altLang="en-US" sz="1000" dirty="0">
                <a:solidFill>
                  <a:srgbClr val="000000"/>
                </a:solidFill>
                <a:latin typeface="微软雅黑" pitchFamily="34" charset="-122"/>
                <a:ea typeface="微软雅黑" pitchFamily="34" charset="-122"/>
              </a:rPr>
              <a:t>，国际行业指标</a:t>
            </a:r>
            <a:r>
              <a:rPr lang="en-US" altLang="zh-CN" sz="1000" b="1" dirty="0">
                <a:solidFill>
                  <a:srgbClr val="C00000"/>
                </a:solidFill>
                <a:latin typeface="微软雅黑" pitchFamily="34" charset="-122"/>
                <a:ea typeface="微软雅黑" pitchFamily="34" charset="-122"/>
              </a:rPr>
              <a:t>12</a:t>
            </a:r>
            <a:r>
              <a:rPr lang="zh-CN" altLang="en-US" sz="1000" b="1" dirty="0">
                <a:solidFill>
                  <a:srgbClr val="C00000"/>
                </a:solidFill>
                <a:latin typeface="微软雅黑" pitchFamily="34" charset="-122"/>
                <a:ea typeface="微软雅黑" pitchFamily="34" charset="-122"/>
              </a:rPr>
              <a:t>次</a:t>
            </a:r>
            <a:r>
              <a:rPr lang="en-US" altLang="zh-CN" sz="1000" b="1" dirty="0">
                <a:solidFill>
                  <a:srgbClr val="C00000"/>
                </a:solidFill>
                <a:latin typeface="微软雅黑" pitchFamily="34" charset="-122"/>
                <a:ea typeface="微软雅黑" pitchFamily="34" charset="-122"/>
              </a:rPr>
              <a:t>/</a:t>
            </a:r>
            <a:r>
              <a:rPr lang="zh-CN" altLang="en-US" sz="1000" b="1" dirty="0">
                <a:solidFill>
                  <a:srgbClr val="C00000"/>
                </a:solidFill>
                <a:latin typeface="微软雅黑" pitchFamily="34" charset="-122"/>
                <a:ea typeface="微软雅黑" pitchFamily="34" charset="-122"/>
              </a:rPr>
              <a:t>分</a:t>
            </a:r>
            <a:r>
              <a:rPr lang="zh-CN" altLang="en-US" sz="1000" dirty="0">
                <a:solidFill>
                  <a:srgbClr val="000000"/>
                </a:solidFill>
                <a:latin typeface="微软雅黑" pitchFamily="34" charset="-122"/>
                <a:ea typeface="微软雅黑" pitchFamily="34" charset="-122"/>
              </a:rPr>
              <a:t>，达</a:t>
            </a:r>
            <a:r>
              <a:rPr lang="zh-CN" altLang="en-US" sz="1100" b="1" dirty="0">
                <a:solidFill>
                  <a:srgbClr val="C00000"/>
                </a:solidFill>
                <a:latin typeface="微软雅黑" pitchFamily="34" charset="-122"/>
                <a:ea typeface="微软雅黑" pitchFamily="34" charset="-122"/>
              </a:rPr>
              <a:t>国际领先水平</a:t>
            </a:r>
            <a:r>
              <a:rPr lang="zh-CN" altLang="en-US" sz="1000" dirty="0">
                <a:solidFill>
                  <a:srgbClr val="000000"/>
                </a:solidFill>
                <a:latin typeface="微软雅黑" pitchFamily="34" charset="-122"/>
                <a:ea typeface="微软雅黑" pitchFamily="34" charset="-122"/>
              </a:rPr>
              <a:t>；全自动换模≤</a:t>
            </a:r>
            <a:r>
              <a:rPr lang="en-US" altLang="zh-CN" sz="1000" dirty="0">
                <a:solidFill>
                  <a:srgbClr val="000000"/>
                </a:solidFill>
                <a:latin typeface="微软雅黑" pitchFamily="34" charset="-122"/>
                <a:ea typeface="微软雅黑" pitchFamily="34" charset="-122"/>
              </a:rPr>
              <a:t>3</a:t>
            </a:r>
            <a:r>
              <a:rPr lang="zh-CN" altLang="en-US" sz="1000" dirty="0">
                <a:solidFill>
                  <a:srgbClr val="000000"/>
                </a:solidFill>
                <a:latin typeface="微软雅黑" pitchFamily="34" charset="-122"/>
                <a:ea typeface="微软雅黑" pitchFamily="34" charset="-122"/>
              </a:rPr>
              <a:t>分钟</a:t>
            </a:r>
            <a:endParaRPr lang="en-US" altLang="zh-CN" sz="1000" dirty="0">
              <a:solidFill>
                <a:srgbClr val="000000"/>
              </a:solidFill>
              <a:latin typeface="微软雅黑" pitchFamily="34" charset="-122"/>
              <a:ea typeface="微软雅黑" pitchFamily="34" charset="-122"/>
            </a:endParaRPr>
          </a:p>
          <a:p>
            <a:pPr eaLnBrk="0" hangingPunct="0">
              <a:lnSpc>
                <a:spcPct val="150000"/>
              </a:lnSpc>
            </a:pPr>
            <a:r>
              <a:rPr lang="en-US" altLang="zh-CN" sz="1000" dirty="0">
                <a:solidFill>
                  <a:srgbClr val="000000"/>
                </a:solidFill>
                <a:latin typeface="微软雅黑" pitchFamily="34" charset="-122"/>
                <a:ea typeface="微软雅黑" pitchFamily="34" charset="-122"/>
              </a:rPr>
              <a:t>10-16troke/m, verge SPM=12, In fact reached </a:t>
            </a:r>
            <a:r>
              <a:rPr lang="en-US" altLang="zh-CN" sz="1000" dirty="0">
                <a:solidFill>
                  <a:srgbClr val="C00000"/>
                </a:solidFill>
                <a:latin typeface="微软雅黑" pitchFamily="34" charset="-122"/>
                <a:ea typeface="微软雅黑" pitchFamily="34" charset="-122"/>
              </a:rPr>
              <a:t>12.8</a:t>
            </a:r>
            <a:r>
              <a:rPr lang="en-US" altLang="zh-CN" sz="1000" dirty="0">
                <a:solidFill>
                  <a:srgbClr val="000000"/>
                </a:solidFill>
                <a:latin typeface="微软雅黑" pitchFamily="34" charset="-122"/>
                <a:ea typeface="微软雅黑" pitchFamily="34" charset="-122"/>
              </a:rPr>
              <a:t> jig frequency/min </a:t>
            </a:r>
          </a:p>
          <a:p>
            <a:pPr eaLnBrk="0" hangingPunct="0">
              <a:lnSpc>
                <a:spcPct val="150000"/>
              </a:lnSpc>
            </a:pPr>
            <a:r>
              <a:rPr lang="zh-CN" altLang="en-US" sz="1100" b="1" dirty="0">
                <a:solidFill>
                  <a:srgbClr val="000000"/>
                </a:solidFill>
                <a:latin typeface="微软雅黑" pitchFamily="34" charset="-122"/>
                <a:ea typeface="微软雅黑" pitchFamily="34" charset="-122"/>
              </a:rPr>
              <a:t>■ </a:t>
            </a:r>
            <a:r>
              <a:rPr lang="zh-CN" altLang="en-US" sz="1000" b="1" dirty="0">
                <a:solidFill>
                  <a:srgbClr val="000000"/>
                </a:solidFill>
                <a:latin typeface="微软雅黑" pitchFamily="34" charset="-122"/>
                <a:ea typeface="微软雅黑" pitchFamily="34" charset="-122"/>
              </a:rPr>
              <a:t>特  点</a:t>
            </a:r>
            <a:r>
              <a:rPr lang="en-US" altLang="zh-CN" sz="1000" b="1" dirty="0">
                <a:solidFill>
                  <a:srgbClr val="000000"/>
                </a:solidFill>
                <a:latin typeface="微软雅黑" pitchFamily="34" charset="-122"/>
                <a:ea typeface="微软雅黑" pitchFamily="34" charset="-122"/>
              </a:rPr>
              <a:t>Advanced Feature</a:t>
            </a:r>
          </a:p>
          <a:p>
            <a:pPr eaLnBrk="0" hangingPunct="0">
              <a:lnSpc>
                <a:spcPct val="150000"/>
              </a:lnSpc>
            </a:pPr>
            <a:r>
              <a:rPr lang="zh-CN" altLang="en-US" sz="800" dirty="0">
                <a:solidFill>
                  <a:srgbClr val="000000"/>
                </a:solidFill>
                <a:latin typeface="微软雅黑" pitchFamily="34" charset="-122"/>
                <a:ea typeface="微软雅黑" pitchFamily="34" charset="-122"/>
              </a:rPr>
              <a:t>高生产性、高精度、柔性化，全封闭隔音措施，节约能源、空间及成本</a:t>
            </a:r>
            <a:r>
              <a:rPr lang="en-US" altLang="zh-CN" sz="700" dirty="0">
                <a:solidFill>
                  <a:srgbClr val="000000"/>
                </a:solidFill>
                <a:latin typeface="微软雅黑" pitchFamily="34" charset="-122"/>
                <a:ea typeface="微软雅黑" pitchFamily="34" charset="-122"/>
              </a:rPr>
              <a:t>High productivity, high-precision, flexible,</a:t>
            </a:r>
          </a:p>
        </p:txBody>
      </p:sp>
    </p:spTree>
    <p:extLst>
      <p:ext uri="{BB962C8B-B14F-4D97-AF65-F5344CB8AC3E}">
        <p14:creationId xmlns:p14="http://schemas.microsoft.com/office/powerpoint/2010/main" val="534002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5"/>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697132" y="625254"/>
            <a:ext cx="2074668" cy="615531"/>
          </a:xfrm>
          <a:prstGeom prst="rect">
            <a:avLst/>
          </a:prstGeom>
          <a:noFill/>
        </p:spPr>
        <p:txBody>
          <a:bodyPr wrap="square" lIns="91419" tIns="45709" rIns="91419" bIns="45709" rtlCol="0">
            <a:spAutoFit/>
          </a:bodyPr>
          <a:lstStyle/>
          <a:p>
            <a:r>
              <a:rPr lang="zh-CN" altLang="en-US" sz="2000" b="1" dirty="0">
                <a:solidFill>
                  <a:srgbClr val="C00000"/>
                </a:solidFill>
                <a:latin typeface="微软雅黑" pitchFamily="34" charset="-122"/>
                <a:ea typeface="微软雅黑" pitchFamily="34" charset="-122"/>
              </a:rPr>
              <a:t>焊装车间</a:t>
            </a:r>
            <a:endParaRPr lang="en-US" altLang="zh-CN" sz="2000" b="1" dirty="0">
              <a:solidFill>
                <a:srgbClr val="C00000"/>
              </a:solidFill>
              <a:latin typeface="微软雅黑" pitchFamily="34" charset="-122"/>
              <a:ea typeface="微软雅黑" pitchFamily="34" charset="-122"/>
            </a:endParaRPr>
          </a:p>
          <a:p>
            <a:r>
              <a:rPr lang="en-US" altLang="zh-CN" sz="1400" b="1" dirty="0">
                <a:solidFill>
                  <a:srgbClr val="C00000"/>
                </a:solidFill>
                <a:latin typeface="微软雅黑" pitchFamily="34" charset="-122"/>
                <a:ea typeface="微软雅黑" pitchFamily="34" charset="-122"/>
                <a:sym typeface="黑体" pitchFamily="49" charset="-122"/>
              </a:rPr>
              <a:t>Welding</a:t>
            </a:r>
            <a:endParaRPr lang="en-US" altLang="zh-CN" sz="1400" b="1" dirty="0">
              <a:solidFill>
                <a:srgbClr val="C00000"/>
              </a:solidFill>
              <a:latin typeface="微软雅黑" pitchFamily="34" charset="-122"/>
              <a:ea typeface="微软雅黑" pitchFamily="34" charset="-122"/>
              <a:cs typeface="Arial" pitchFamily="34" charset="0"/>
              <a:sym typeface="黑体" pitchFamily="49" charset="-122"/>
            </a:endParaRPr>
          </a:p>
        </p:txBody>
      </p:sp>
      <p:sp>
        <p:nvSpPr>
          <p:cNvPr id="6"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sp>
        <p:nvSpPr>
          <p:cNvPr id="10" name="灯片编号占位符 1"/>
          <p:cNvSpPr>
            <a:spLocks noGrp="1"/>
          </p:cNvSpPr>
          <p:nvPr>
            <p:ph type="sldNum" sz="quarter" idx="10"/>
          </p:nvPr>
        </p:nvSpPr>
        <p:spPr>
          <a:xfrm>
            <a:off x="8651507" y="5343123"/>
            <a:ext cx="36004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fld id="{A6C54AB4-FD64-4F86-9BF0-7210CD94CCAC}" type="slidenum">
              <a:rPr lang="zh-CN" altLang="en-US" sz="1000">
                <a:solidFill>
                  <a:srgbClr val="7F7F7F"/>
                </a:solidFill>
                <a:latin typeface="微软雅黑" pitchFamily="34" charset="-122"/>
                <a:ea typeface="微软雅黑" pitchFamily="34" charset="-122"/>
              </a:rPr>
              <a:pPr algn="ctr"/>
              <a:t>11</a:t>
            </a:fld>
            <a:endParaRPr lang="zh-CN" altLang="en-US" sz="1000" dirty="0">
              <a:solidFill>
                <a:srgbClr val="7F7F7F"/>
              </a:solidFill>
              <a:latin typeface="微软雅黑" pitchFamily="34" charset="-122"/>
              <a:ea typeface="微软雅黑" pitchFamily="34" charset="-122"/>
            </a:endParaRPr>
          </a:p>
        </p:txBody>
      </p:sp>
      <p:grpSp>
        <p:nvGrpSpPr>
          <p:cNvPr id="2" name="组合 1"/>
          <p:cNvGrpSpPr/>
          <p:nvPr/>
        </p:nvGrpSpPr>
        <p:grpSpPr>
          <a:xfrm>
            <a:off x="3" y="1326889"/>
            <a:ext cx="9132889" cy="3706813"/>
            <a:chOff x="0" y="1326886"/>
            <a:chExt cx="9132889" cy="3706813"/>
          </a:xfrm>
        </p:grpSpPr>
        <p:sp>
          <p:nvSpPr>
            <p:cNvPr id="9" name="矩形 8"/>
            <p:cNvSpPr/>
            <p:nvPr/>
          </p:nvSpPr>
          <p:spPr bwMode="auto">
            <a:xfrm>
              <a:off x="0" y="4188355"/>
              <a:ext cx="6959600" cy="845344"/>
            </a:xfrm>
            <a:prstGeom prst="rect">
              <a:avLst/>
            </a:prstGeom>
            <a:solidFill>
              <a:schemeClr val="accent2">
                <a:lumMod val="60000"/>
                <a:lumOff val="40000"/>
                <a:alpha val="45000"/>
              </a:schemeClr>
            </a:solidFill>
            <a:ln w="9525" cap="flat" cmpd="sng" algn="ctr">
              <a:noFill/>
              <a:prstDash val="solid"/>
              <a:round/>
              <a:headEnd type="none" w="med" len="med"/>
              <a:tailEnd type="none" w="med" len="med"/>
            </a:ln>
            <a:effectLst/>
            <a:extLst/>
          </p:spPr>
          <p:txBody>
            <a:bodyPr/>
            <a:lstStyle/>
            <a:p>
              <a:pPr eaLnBrk="0" hangingPunct="0">
                <a:defRPr/>
              </a:pPr>
              <a:endParaRPr lang="zh-CN" altLang="en-US" sz="2000">
                <a:solidFill>
                  <a:srgbClr val="000000"/>
                </a:solidFill>
                <a:latin typeface="CorpoS" pitchFamily="2" charset="0"/>
              </a:endParaRPr>
            </a:p>
          </p:txBody>
        </p:sp>
        <p:pic>
          <p:nvPicPr>
            <p:cNvPr id="11"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20096" y="1326886"/>
              <a:ext cx="3212793" cy="3706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5" name="组合 24"/>
            <p:cNvGrpSpPr/>
            <p:nvPr/>
          </p:nvGrpSpPr>
          <p:grpSpPr>
            <a:xfrm>
              <a:off x="1131889" y="1489348"/>
              <a:ext cx="5437187" cy="3439840"/>
              <a:chOff x="1131889" y="1489348"/>
              <a:chExt cx="5437187" cy="3439840"/>
            </a:xfrm>
          </p:grpSpPr>
          <p:sp>
            <p:nvSpPr>
              <p:cNvPr id="12" name="矩形 11"/>
              <p:cNvSpPr/>
              <p:nvPr/>
            </p:nvSpPr>
            <p:spPr bwMode="auto">
              <a:xfrm>
                <a:off x="3563939" y="1489348"/>
                <a:ext cx="3005137" cy="3121679"/>
              </a:xfrm>
              <a:prstGeom prst="rect">
                <a:avLst/>
              </a:prstGeom>
              <a:solidFill>
                <a:schemeClr val="bg1">
                  <a:lumMod val="75000"/>
                  <a:alpha val="52000"/>
                </a:schemeClr>
              </a:solidFill>
              <a:ln w="9525" cap="flat" cmpd="sng" algn="ctr">
                <a:noFill/>
                <a:prstDash val="solid"/>
                <a:round/>
                <a:headEnd type="none" w="med" len="med"/>
                <a:tailEnd type="none" w="med" len="med"/>
              </a:ln>
              <a:effectLst/>
              <a:extLst/>
            </p:spPr>
            <p:txBody>
              <a:bodyPr/>
              <a:lstStyle/>
              <a:p>
                <a:pPr eaLnBrk="0" hangingPunct="0">
                  <a:defRPr/>
                </a:pPr>
                <a:endParaRPr lang="zh-CN" altLang="en-US" sz="2000">
                  <a:solidFill>
                    <a:srgbClr val="000000"/>
                  </a:solidFill>
                  <a:latin typeface="CorpoS" pitchFamily="2" charset="0"/>
                </a:endParaRPr>
              </a:p>
            </p:txBody>
          </p:sp>
          <p:sp>
            <p:nvSpPr>
              <p:cNvPr id="13" name="TextBox 1"/>
              <p:cNvSpPr txBox="1">
                <a:spLocks noChangeArrowheads="1"/>
              </p:cNvSpPr>
              <p:nvPr/>
            </p:nvSpPr>
            <p:spPr bwMode="auto">
              <a:xfrm>
                <a:off x="3657402" y="1562788"/>
                <a:ext cx="2642789" cy="294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lnSpc>
                    <a:spcPct val="150000"/>
                  </a:lnSpc>
                </a:pPr>
                <a:r>
                  <a:rPr lang="zh-CN" altLang="en-US" sz="1400" dirty="0">
                    <a:solidFill>
                      <a:srgbClr val="000000"/>
                    </a:solidFill>
                    <a:latin typeface="微软雅黑" pitchFamily="34" charset="-122"/>
                    <a:ea typeface="微软雅黑" pitchFamily="34" charset="-122"/>
                  </a:rPr>
                  <a:t>■ </a:t>
                </a:r>
                <a:r>
                  <a:rPr lang="zh-CN" altLang="en-US" sz="1100" dirty="0">
                    <a:solidFill>
                      <a:srgbClr val="000000"/>
                    </a:solidFill>
                    <a:latin typeface="微软雅黑" pitchFamily="34" charset="-122"/>
                    <a:ea typeface="微软雅黑" pitchFamily="34" charset="-122"/>
                  </a:rPr>
                  <a:t>建筑面积</a:t>
                </a:r>
                <a:r>
                  <a:rPr lang="en-US" altLang="zh-CN" sz="1000" dirty="0">
                    <a:solidFill>
                      <a:srgbClr val="000000"/>
                    </a:solidFill>
                    <a:latin typeface="微软雅黑" pitchFamily="34" charset="-122"/>
                    <a:ea typeface="微软雅黑" pitchFamily="34" charset="-122"/>
                  </a:rPr>
                  <a:t>Phase one </a:t>
                </a:r>
                <a:r>
                  <a:rPr lang="zh-CN" altLang="en-US" sz="1100" dirty="0">
                    <a:solidFill>
                      <a:srgbClr val="000000"/>
                    </a:solidFill>
                    <a:latin typeface="微软雅黑" pitchFamily="34" charset="-122"/>
                    <a:ea typeface="微软雅黑" pitchFamily="34" charset="-122"/>
                  </a:rPr>
                  <a:t>：</a:t>
                </a:r>
                <a:r>
                  <a:rPr lang="en-US" altLang="zh-CN" sz="1100" dirty="0">
                    <a:solidFill>
                      <a:srgbClr val="000000"/>
                    </a:solidFill>
                    <a:latin typeface="微软雅黑" pitchFamily="34" charset="-122"/>
                    <a:ea typeface="微软雅黑" pitchFamily="34" charset="-122"/>
                  </a:rPr>
                  <a:t>58600M</a:t>
                </a:r>
                <a:r>
                  <a:rPr lang="en-US" altLang="zh-CN" sz="1100" baseline="30000" dirty="0">
                    <a:solidFill>
                      <a:srgbClr val="000000"/>
                    </a:solidFill>
                    <a:latin typeface="微软雅黑" pitchFamily="34" charset="-122"/>
                    <a:ea typeface="微软雅黑" pitchFamily="34" charset="-122"/>
                  </a:rPr>
                  <a:t>2</a:t>
                </a:r>
              </a:p>
              <a:p>
                <a:pPr eaLnBrk="0" hangingPunct="0">
                  <a:lnSpc>
                    <a:spcPct val="150000"/>
                  </a:lnSpc>
                </a:pPr>
                <a:r>
                  <a:rPr lang="zh-CN" altLang="en-US" sz="1400" dirty="0">
                    <a:solidFill>
                      <a:srgbClr val="000000"/>
                    </a:solidFill>
                    <a:latin typeface="微软雅黑" pitchFamily="34" charset="-122"/>
                    <a:ea typeface="微软雅黑" pitchFamily="34" charset="-122"/>
                  </a:rPr>
                  <a:t>■ </a:t>
                </a:r>
                <a:r>
                  <a:rPr lang="zh-CN" altLang="en-US" sz="1100" dirty="0">
                    <a:solidFill>
                      <a:srgbClr val="000000"/>
                    </a:solidFill>
                    <a:latin typeface="微软雅黑" pitchFamily="34" charset="-122"/>
                    <a:ea typeface="微软雅黑" pitchFamily="34" charset="-122"/>
                  </a:rPr>
                  <a:t>生产能力</a:t>
                </a:r>
                <a:r>
                  <a:rPr lang="en-US" altLang="zh-CN" sz="900" dirty="0">
                    <a:solidFill>
                      <a:srgbClr val="000000"/>
                    </a:solidFill>
                    <a:latin typeface="微软雅黑" pitchFamily="34" charset="-122"/>
                    <a:ea typeface="微软雅黑" pitchFamily="34" charset="-122"/>
                  </a:rPr>
                  <a:t>Production Capacity</a:t>
                </a:r>
                <a:r>
                  <a:rPr lang="zh-CN" altLang="en-US" sz="1100" dirty="0">
                    <a:solidFill>
                      <a:srgbClr val="000000"/>
                    </a:solidFill>
                    <a:latin typeface="微软雅黑" pitchFamily="34" charset="-122"/>
                    <a:ea typeface="微软雅黑" pitchFamily="34" charset="-122"/>
                  </a:rPr>
                  <a:t>：</a:t>
                </a:r>
                <a:r>
                  <a:rPr lang="en-US" altLang="zh-CN" sz="1100" dirty="0">
                    <a:solidFill>
                      <a:srgbClr val="000000"/>
                    </a:solidFill>
                    <a:latin typeface="微软雅黑" pitchFamily="34" charset="-122"/>
                    <a:ea typeface="微软雅黑" pitchFamily="34" charset="-122"/>
                  </a:rPr>
                  <a:t>20</a:t>
                </a:r>
                <a:r>
                  <a:rPr lang="zh-CN" altLang="en-US" sz="1100" dirty="0">
                    <a:solidFill>
                      <a:srgbClr val="000000"/>
                    </a:solidFill>
                    <a:latin typeface="微软雅黑" pitchFamily="34" charset="-122"/>
                    <a:ea typeface="微软雅黑" pitchFamily="34" charset="-122"/>
                  </a:rPr>
                  <a:t>万台</a:t>
                </a:r>
                <a:r>
                  <a:rPr lang="en-US" altLang="zh-CN" sz="1100" dirty="0">
                    <a:solidFill>
                      <a:srgbClr val="000000"/>
                    </a:solidFill>
                    <a:latin typeface="微软雅黑" pitchFamily="34" charset="-122"/>
                    <a:ea typeface="微软雅黑" pitchFamily="34" charset="-122"/>
                  </a:rPr>
                  <a:t>/</a:t>
                </a:r>
                <a:r>
                  <a:rPr lang="zh-CN" altLang="en-US" sz="1100" dirty="0">
                    <a:solidFill>
                      <a:srgbClr val="000000"/>
                    </a:solidFill>
                    <a:latin typeface="微软雅黑" pitchFamily="34" charset="-122"/>
                    <a:ea typeface="微软雅黑" pitchFamily="34" charset="-122"/>
                  </a:rPr>
                  <a:t>年</a:t>
                </a:r>
                <a:r>
                  <a:rPr lang="en-US" altLang="zh-CN" sz="1000" dirty="0">
                    <a:solidFill>
                      <a:srgbClr val="000000"/>
                    </a:solidFill>
                    <a:latin typeface="微软雅黑" pitchFamily="34" charset="-122"/>
                    <a:ea typeface="微软雅黑" pitchFamily="34" charset="-122"/>
                  </a:rPr>
                  <a:t>200,000 units/year</a:t>
                </a:r>
              </a:p>
              <a:p>
                <a:pPr eaLnBrk="0" hangingPunct="0">
                  <a:lnSpc>
                    <a:spcPct val="150000"/>
                  </a:lnSpc>
                </a:pPr>
                <a:r>
                  <a:rPr lang="zh-CN" altLang="en-US" sz="1400" dirty="0">
                    <a:solidFill>
                      <a:srgbClr val="000000"/>
                    </a:solidFill>
                    <a:latin typeface="微软雅黑" pitchFamily="34" charset="-122"/>
                    <a:ea typeface="微软雅黑" pitchFamily="34" charset="-122"/>
                  </a:rPr>
                  <a:t>■ </a:t>
                </a:r>
                <a:r>
                  <a:rPr lang="zh-CN" altLang="en-US" sz="1100" dirty="0">
                    <a:solidFill>
                      <a:srgbClr val="000000"/>
                    </a:solidFill>
                    <a:latin typeface="微软雅黑" pitchFamily="34" charset="-122"/>
                    <a:ea typeface="微软雅黑" pitchFamily="34" charset="-122"/>
                  </a:rPr>
                  <a:t>生产工艺</a:t>
                </a:r>
                <a:r>
                  <a:rPr lang="en-US" altLang="zh-CN" sz="1000" dirty="0">
                    <a:solidFill>
                      <a:srgbClr val="000000"/>
                    </a:solidFill>
                    <a:latin typeface="微软雅黑" pitchFamily="34" charset="-122"/>
                    <a:ea typeface="微软雅黑" pitchFamily="34" charset="-122"/>
                  </a:rPr>
                  <a:t>Advance process</a:t>
                </a:r>
                <a:endParaRPr lang="en-US" altLang="zh-CN" sz="1100" dirty="0">
                  <a:solidFill>
                    <a:srgbClr val="000000"/>
                  </a:solidFill>
                  <a:latin typeface="微软雅黑" pitchFamily="34" charset="-122"/>
                  <a:ea typeface="微软雅黑" pitchFamily="34" charset="-122"/>
                </a:endParaRPr>
              </a:p>
              <a:p>
                <a:pPr eaLnBrk="0" hangingPunct="0">
                  <a:lnSpc>
                    <a:spcPct val="200000"/>
                  </a:lnSpc>
                </a:pPr>
                <a:r>
                  <a:rPr lang="en-US" altLang="zh-CN" sz="1000" dirty="0">
                    <a:solidFill>
                      <a:srgbClr val="000000"/>
                    </a:solidFill>
                    <a:latin typeface="微软雅黑" pitchFamily="34" charset="-122"/>
                    <a:ea typeface="微软雅黑" pitchFamily="34" charset="-122"/>
                  </a:rPr>
                  <a:t>• </a:t>
                </a:r>
                <a:r>
                  <a:rPr lang="zh-CN" altLang="en-US" sz="1000" dirty="0">
                    <a:solidFill>
                      <a:srgbClr val="000000"/>
                    </a:solidFill>
                    <a:latin typeface="微软雅黑" pitchFamily="34" charset="-122"/>
                    <a:ea typeface="微软雅黑" pitchFamily="34" charset="-122"/>
                  </a:rPr>
                  <a:t>白车身间隙断差激光在线检测（</a:t>
                </a:r>
                <a:r>
                  <a:rPr lang="en-US" altLang="zh-CN" sz="1000" dirty="0">
                    <a:solidFill>
                      <a:srgbClr val="000000"/>
                    </a:solidFill>
                    <a:latin typeface="微软雅黑" pitchFamily="34" charset="-122"/>
                    <a:ea typeface="微软雅黑" pitchFamily="34" charset="-122"/>
                  </a:rPr>
                  <a:t>EDIXIA</a:t>
                </a:r>
                <a:r>
                  <a:rPr lang="zh-CN" altLang="en-US" sz="1000" dirty="0">
                    <a:solidFill>
                      <a:srgbClr val="000000"/>
                    </a:solidFill>
                    <a:latin typeface="微软雅黑" pitchFamily="34" charset="-122"/>
                    <a:ea typeface="微软雅黑" pitchFamily="34" charset="-122"/>
                  </a:rPr>
                  <a:t>），</a:t>
                </a:r>
                <a:r>
                  <a:rPr lang="zh-CN" altLang="en-US" sz="1100" b="1" dirty="0">
                    <a:solidFill>
                      <a:srgbClr val="C00000"/>
                    </a:solidFill>
                    <a:latin typeface="微软雅黑" pitchFamily="34" charset="-122"/>
                    <a:ea typeface="微软雅黑" pitchFamily="34" charset="-122"/>
                  </a:rPr>
                  <a:t>国内唯一 一套</a:t>
                </a:r>
                <a:r>
                  <a:rPr lang="zh-CN" altLang="en-US" sz="1000" dirty="0">
                    <a:solidFill>
                      <a:srgbClr val="000000"/>
                    </a:solidFill>
                    <a:latin typeface="微软雅黑" pitchFamily="34" charset="-122"/>
                    <a:ea typeface="微软雅黑" pitchFamily="34" charset="-122"/>
                  </a:rPr>
                  <a:t>在用设备，确保车身装配质量 </a:t>
                </a:r>
                <a:r>
                  <a:rPr lang="en-US" altLang="zh-CN" sz="1000" dirty="0">
                    <a:latin typeface="微软雅黑" pitchFamily="34" charset="-122"/>
                    <a:ea typeface="微软雅黑" pitchFamily="34" charset="-122"/>
                  </a:rPr>
                  <a:t>Uniqueness equipment in China</a:t>
                </a:r>
                <a:endParaRPr lang="en-US" altLang="zh-CN" sz="1000" dirty="0">
                  <a:solidFill>
                    <a:srgbClr val="000000"/>
                  </a:solidFill>
                  <a:latin typeface="微软雅黑" pitchFamily="34" charset="-122"/>
                  <a:ea typeface="微软雅黑" pitchFamily="34" charset="-122"/>
                </a:endParaRPr>
              </a:p>
              <a:p>
                <a:pPr eaLnBrk="0" hangingPunct="0">
                  <a:lnSpc>
                    <a:spcPct val="200000"/>
                  </a:lnSpc>
                </a:pPr>
                <a:r>
                  <a:rPr lang="en-US" altLang="zh-CN" sz="1000" dirty="0">
                    <a:solidFill>
                      <a:srgbClr val="000000"/>
                    </a:solidFill>
                    <a:latin typeface="微软雅黑" pitchFamily="34" charset="-122"/>
                    <a:ea typeface="微软雅黑" pitchFamily="34" charset="-122"/>
                  </a:rPr>
                  <a:t>• </a:t>
                </a:r>
                <a:r>
                  <a:rPr lang="zh-CN" altLang="en-US" sz="1000" dirty="0">
                    <a:solidFill>
                      <a:srgbClr val="000000"/>
                    </a:solidFill>
                    <a:latin typeface="微软雅黑" pitchFamily="34" charset="-122"/>
                    <a:ea typeface="微软雅黑" pitchFamily="34" charset="-122"/>
                  </a:rPr>
                  <a:t>激光焊接，高精度，高质量</a:t>
                </a:r>
                <a:r>
                  <a:rPr lang="en-US" altLang="zh-CN" sz="1000" dirty="0">
                    <a:latin typeface="微软雅黑" pitchFamily="34" charset="-122"/>
                    <a:ea typeface="微软雅黑" pitchFamily="34" charset="-122"/>
                  </a:rPr>
                  <a:t>Laser welding </a:t>
                </a:r>
                <a:endParaRPr lang="en-US" altLang="zh-CN" sz="1000" dirty="0">
                  <a:solidFill>
                    <a:srgbClr val="000000"/>
                  </a:solidFill>
                  <a:latin typeface="微软雅黑" pitchFamily="34" charset="-122"/>
                  <a:ea typeface="微软雅黑" pitchFamily="34" charset="-122"/>
                </a:endParaRPr>
              </a:p>
              <a:p>
                <a:pPr eaLnBrk="0" hangingPunct="0">
                  <a:lnSpc>
                    <a:spcPct val="200000"/>
                  </a:lnSpc>
                </a:pPr>
                <a:r>
                  <a:rPr lang="en-US" altLang="zh-CN" sz="1000" dirty="0">
                    <a:solidFill>
                      <a:srgbClr val="000000"/>
                    </a:solidFill>
                    <a:latin typeface="微软雅黑" pitchFamily="34" charset="-122"/>
                    <a:ea typeface="微软雅黑" pitchFamily="34" charset="-122"/>
                  </a:rPr>
                  <a:t>• </a:t>
                </a:r>
                <a:r>
                  <a:rPr lang="zh-CN" altLang="en-US" sz="1000" dirty="0">
                    <a:solidFill>
                      <a:srgbClr val="000000"/>
                    </a:solidFill>
                    <a:latin typeface="微软雅黑" pitchFamily="34" charset="-122"/>
                    <a:ea typeface="微软雅黑" pitchFamily="34" charset="-122"/>
                  </a:rPr>
                  <a:t>机器人包边技术</a:t>
                </a:r>
                <a:r>
                  <a:rPr lang="en-US" altLang="zh-CN" sz="1000" dirty="0">
                    <a:solidFill>
                      <a:srgbClr val="000000"/>
                    </a:solidFill>
                    <a:latin typeface="微软雅黑" pitchFamily="34" charset="-122"/>
                    <a:ea typeface="微软雅黑" pitchFamily="34" charset="-122"/>
                  </a:rPr>
                  <a:t>roller hemming</a:t>
                </a:r>
              </a:p>
            </p:txBody>
          </p:sp>
          <p:pic>
            <p:nvPicPr>
              <p:cNvPr id="14" name="Picture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31889" y="1543844"/>
                <a:ext cx="1933575" cy="1063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1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31889" y="2917032"/>
                <a:ext cx="1933575" cy="8916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1889" y="4025636"/>
                <a:ext cx="1933575" cy="903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8" name="直接连接符 6"/>
              <p:cNvCxnSpPr>
                <a:cxnSpLocks noChangeShapeType="1"/>
                <a:stCxn id="14" idx="3"/>
              </p:cNvCxnSpPr>
              <p:nvPr/>
            </p:nvCxnSpPr>
            <p:spPr bwMode="auto">
              <a:xfrm>
                <a:off x="3065464" y="2075657"/>
                <a:ext cx="708819" cy="916368"/>
              </a:xfrm>
              <a:prstGeom prst="line">
                <a:avLst/>
              </a:prstGeom>
              <a:noFill/>
              <a:ln w="9525" algn="ctr">
                <a:solidFill>
                  <a:srgbClr val="C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直接连接符 24"/>
              <p:cNvCxnSpPr>
                <a:cxnSpLocks noChangeShapeType="1"/>
                <a:stCxn id="15" idx="3"/>
              </p:cNvCxnSpPr>
              <p:nvPr/>
            </p:nvCxnSpPr>
            <p:spPr bwMode="auto">
              <a:xfrm>
                <a:off x="3065464" y="3362855"/>
                <a:ext cx="708819" cy="574765"/>
              </a:xfrm>
              <a:prstGeom prst="line">
                <a:avLst/>
              </a:prstGeom>
              <a:noFill/>
              <a:ln w="9525" algn="ctr">
                <a:solidFill>
                  <a:srgbClr val="C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接连接符 31"/>
              <p:cNvCxnSpPr>
                <a:cxnSpLocks noChangeShapeType="1"/>
              </p:cNvCxnSpPr>
              <p:nvPr/>
            </p:nvCxnSpPr>
            <p:spPr bwMode="auto">
              <a:xfrm flipV="1">
                <a:off x="3063857" y="4225652"/>
                <a:ext cx="710426" cy="280202"/>
              </a:xfrm>
              <a:prstGeom prst="line">
                <a:avLst/>
              </a:prstGeom>
              <a:noFill/>
              <a:ln w="9525" algn="ctr">
                <a:solidFill>
                  <a:srgbClr val="C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spTree>
    <p:extLst>
      <p:ext uri="{BB962C8B-B14F-4D97-AF65-F5344CB8AC3E}">
        <p14:creationId xmlns:p14="http://schemas.microsoft.com/office/powerpoint/2010/main" val="9263740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5"/>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697132" y="625254"/>
            <a:ext cx="2074668" cy="615531"/>
          </a:xfrm>
          <a:prstGeom prst="rect">
            <a:avLst/>
          </a:prstGeom>
          <a:noFill/>
        </p:spPr>
        <p:txBody>
          <a:bodyPr wrap="square" lIns="91419" tIns="45709" rIns="91419" bIns="45709" rtlCol="0">
            <a:spAutoFit/>
          </a:bodyPr>
          <a:lstStyle/>
          <a:p>
            <a:r>
              <a:rPr lang="zh-CN" altLang="en-US" sz="2000" b="1" dirty="0">
                <a:solidFill>
                  <a:srgbClr val="C00000"/>
                </a:solidFill>
                <a:latin typeface="微软雅黑" pitchFamily="34" charset="-122"/>
                <a:ea typeface="微软雅黑" pitchFamily="34" charset="-122"/>
              </a:rPr>
              <a:t>涂装车间</a:t>
            </a:r>
            <a:endParaRPr lang="en-US" altLang="zh-CN" sz="2000" b="1" dirty="0">
              <a:solidFill>
                <a:srgbClr val="C00000"/>
              </a:solidFill>
              <a:latin typeface="微软雅黑" pitchFamily="34" charset="-122"/>
              <a:ea typeface="微软雅黑" pitchFamily="34" charset="-122"/>
            </a:endParaRPr>
          </a:p>
          <a:p>
            <a:r>
              <a:rPr lang="en-US" altLang="zh-CN" sz="1400" b="1" dirty="0">
                <a:solidFill>
                  <a:srgbClr val="C00000"/>
                </a:solidFill>
                <a:latin typeface="微软雅黑" pitchFamily="34" charset="-122"/>
                <a:ea typeface="微软雅黑" pitchFamily="34" charset="-122"/>
                <a:sym typeface="黑体" pitchFamily="49" charset="-122"/>
              </a:rPr>
              <a:t>Painting</a:t>
            </a:r>
            <a:endParaRPr lang="en-US" altLang="zh-CN" sz="1400" b="1" dirty="0">
              <a:solidFill>
                <a:srgbClr val="C00000"/>
              </a:solidFill>
              <a:latin typeface="微软雅黑" pitchFamily="34" charset="-122"/>
              <a:ea typeface="微软雅黑" pitchFamily="34" charset="-122"/>
              <a:cs typeface="Arial" pitchFamily="34" charset="0"/>
              <a:sym typeface="黑体" pitchFamily="49" charset="-122"/>
            </a:endParaRPr>
          </a:p>
        </p:txBody>
      </p:sp>
      <p:sp>
        <p:nvSpPr>
          <p:cNvPr id="6"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sp>
        <p:nvSpPr>
          <p:cNvPr id="10" name="灯片编号占位符 1"/>
          <p:cNvSpPr>
            <a:spLocks noGrp="1"/>
          </p:cNvSpPr>
          <p:nvPr>
            <p:ph type="sldNum" sz="quarter" idx="10"/>
          </p:nvPr>
        </p:nvSpPr>
        <p:spPr>
          <a:xfrm>
            <a:off x="8651507" y="5343123"/>
            <a:ext cx="36004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fld id="{A6C54AB4-FD64-4F86-9BF0-7210CD94CCAC}" type="slidenum">
              <a:rPr lang="zh-CN" altLang="en-US" sz="1000">
                <a:solidFill>
                  <a:srgbClr val="7F7F7F"/>
                </a:solidFill>
                <a:latin typeface="微软雅黑" pitchFamily="34" charset="-122"/>
                <a:ea typeface="微软雅黑" pitchFamily="34" charset="-122"/>
              </a:rPr>
              <a:pPr algn="ctr"/>
              <a:t>12</a:t>
            </a:fld>
            <a:endParaRPr lang="zh-CN" altLang="en-US" sz="1000" dirty="0">
              <a:solidFill>
                <a:srgbClr val="7F7F7F"/>
              </a:solidFill>
              <a:latin typeface="微软雅黑" pitchFamily="34" charset="-122"/>
              <a:ea typeface="微软雅黑" pitchFamily="34" charset="-122"/>
            </a:endParaRPr>
          </a:p>
        </p:txBody>
      </p:sp>
      <p:pic>
        <p:nvPicPr>
          <p:cNvPr id="9"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199" y="1621880"/>
            <a:ext cx="4882498" cy="26037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矩形 10"/>
          <p:cNvSpPr/>
          <p:nvPr/>
        </p:nvSpPr>
        <p:spPr bwMode="auto">
          <a:xfrm>
            <a:off x="5130800" y="1345332"/>
            <a:ext cx="3263900" cy="3024337"/>
          </a:xfrm>
          <a:prstGeom prst="rect">
            <a:avLst/>
          </a:prstGeom>
          <a:gradFill>
            <a:gsLst>
              <a:gs pos="0">
                <a:schemeClr val="accent5">
                  <a:lumMod val="20000"/>
                  <a:lumOff val="80000"/>
                </a:schemeClr>
              </a:gs>
              <a:gs pos="50000">
                <a:schemeClr val="accent5">
                  <a:lumMod val="20000"/>
                  <a:lumOff val="80000"/>
                  <a:alpha val="51000"/>
                </a:schemeClr>
              </a:gs>
              <a:gs pos="100000">
                <a:schemeClr val="accent5">
                  <a:lumMod val="20000"/>
                  <a:lumOff val="80000"/>
                </a:schemeClr>
              </a:gs>
            </a:gsLst>
            <a:lin ang="5400000" scaled="0"/>
          </a:gradFill>
          <a:ln w="9525" cap="flat" cmpd="sng" algn="ctr">
            <a:noFill/>
            <a:prstDash val="solid"/>
            <a:round/>
            <a:headEnd type="none" w="med" len="med"/>
            <a:tailEnd type="none" w="med" len="med"/>
          </a:ln>
          <a:effectLst/>
          <a:extLst/>
        </p:spPr>
        <p:txBody>
          <a:bodyPr lIns="91419" tIns="45709" rIns="91419" bIns="45709"/>
          <a:lstStyle/>
          <a:p>
            <a:pPr eaLnBrk="0" hangingPunct="0">
              <a:defRPr/>
            </a:pPr>
            <a:endParaRPr lang="zh-CN" altLang="en-US" sz="2000">
              <a:solidFill>
                <a:srgbClr val="000000"/>
              </a:solidFill>
              <a:latin typeface="CorpoS" pitchFamily="2" charset="0"/>
            </a:endParaRPr>
          </a:p>
        </p:txBody>
      </p:sp>
      <p:sp>
        <p:nvSpPr>
          <p:cNvPr id="12" name="TextBox 1"/>
          <p:cNvSpPr txBox="1">
            <a:spLocks noChangeArrowheads="1"/>
          </p:cNvSpPr>
          <p:nvPr/>
        </p:nvSpPr>
        <p:spPr bwMode="auto">
          <a:xfrm>
            <a:off x="5387215" y="1382137"/>
            <a:ext cx="2857195" cy="2885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9" tIns="45709" rIns="91419" bIns="45709">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lnSpc>
                <a:spcPct val="150000"/>
              </a:lnSpc>
            </a:pPr>
            <a:r>
              <a:rPr lang="zh-CN" altLang="en-US" sz="1400" dirty="0">
                <a:solidFill>
                  <a:srgbClr val="000000"/>
                </a:solidFill>
                <a:latin typeface="微软雅黑" pitchFamily="34" charset="-122"/>
                <a:ea typeface="微软雅黑" pitchFamily="34" charset="-122"/>
              </a:rPr>
              <a:t>■ </a:t>
            </a:r>
            <a:r>
              <a:rPr lang="zh-CN" altLang="en-US" sz="1100" dirty="0">
                <a:solidFill>
                  <a:srgbClr val="000000"/>
                </a:solidFill>
                <a:latin typeface="微软雅黑" pitchFamily="34" charset="-122"/>
                <a:ea typeface="微软雅黑" pitchFamily="34" charset="-122"/>
              </a:rPr>
              <a:t>建筑面积</a:t>
            </a:r>
            <a:r>
              <a:rPr lang="en-US" altLang="zh-CN" sz="900" dirty="0">
                <a:solidFill>
                  <a:srgbClr val="000000"/>
                </a:solidFill>
                <a:latin typeface="微软雅黑" pitchFamily="34" charset="-122"/>
                <a:ea typeface="微软雅黑" pitchFamily="34" charset="-122"/>
              </a:rPr>
              <a:t>Phase one </a:t>
            </a:r>
            <a:r>
              <a:rPr lang="zh-CN" altLang="en-US" sz="1100" dirty="0">
                <a:solidFill>
                  <a:srgbClr val="000000"/>
                </a:solidFill>
                <a:latin typeface="微软雅黑" pitchFamily="34" charset="-122"/>
                <a:ea typeface="微软雅黑" pitchFamily="34" charset="-122"/>
              </a:rPr>
              <a:t>：</a:t>
            </a:r>
            <a:r>
              <a:rPr lang="en-US" altLang="zh-CN" sz="1100" dirty="0">
                <a:solidFill>
                  <a:srgbClr val="000000"/>
                </a:solidFill>
                <a:latin typeface="微软雅黑" pitchFamily="34" charset="-122"/>
                <a:ea typeface="微软雅黑" pitchFamily="34" charset="-122"/>
              </a:rPr>
              <a:t>58600M</a:t>
            </a:r>
            <a:r>
              <a:rPr lang="en-US" altLang="zh-CN" sz="1100" baseline="30000" dirty="0">
                <a:solidFill>
                  <a:srgbClr val="000000"/>
                </a:solidFill>
                <a:latin typeface="微软雅黑" pitchFamily="34" charset="-122"/>
                <a:ea typeface="微软雅黑" pitchFamily="34" charset="-122"/>
              </a:rPr>
              <a:t>2</a:t>
            </a:r>
          </a:p>
          <a:p>
            <a:pPr eaLnBrk="0" hangingPunct="0">
              <a:lnSpc>
                <a:spcPct val="150000"/>
              </a:lnSpc>
            </a:pPr>
            <a:r>
              <a:rPr lang="zh-CN" altLang="en-US" sz="1400" dirty="0">
                <a:solidFill>
                  <a:srgbClr val="000000"/>
                </a:solidFill>
                <a:latin typeface="微软雅黑" pitchFamily="34" charset="-122"/>
                <a:ea typeface="微软雅黑" pitchFamily="34" charset="-122"/>
              </a:rPr>
              <a:t>■ </a:t>
            </a:r>
            <a:r>
              <a:rPr lang="zh-CN" altLang="en-US" sz="1100" dirty="0">
                <a:solidFill>
                  <a:srgbClr val="000000"/>
                </a:solidFill>
                <a:latin typeface="微软雅黑" pitchFamily="34" charset="-122"/>
                <a:ea typeface="微软雅黑" pitchFamily="34" charset="-122"/>
              </a:rPr>
              <a:t>生产能力</a:t>
            </a:r>
            <a:r>
              <a:rPr lang="en-US" altLang="zh-CN" sz="900" dirty="0">
                <a:solidFill>
                  <a:srgbClr val="000000"/>
                </a:solidFill>
                <a:latin typeface="微软雅黑" pitchFamily="34" charset="-122"/>
                <a:ea typeface="微软雅黑" pitchFamily="34" charset="-122"/>
              </a:rPr>
              <a:t>Production Capacity </a:t>
            </a:r>
            <a:r>
              <a:rPr lang="zh-CN" altLang="en-US" sz="1100" dirty="0">
                <a:solidFill>
                  <a:srgbClr val="000000"/>
                </a:solidFill>
                <a:latin typeface="微软雅黑" pitchFamily="34" charset="-122"/>
                <a:ea typeface="微软雅黑" pitchFamily="34" charset="-122"/>
              </a:rPr>
              <a:t>：</a:t>
            </a:r>
            <a:r>
              <a:rPr lang="en-US" altLang="zh-CN" sz="1000" dirty="0">
                <a:solidFill>
                  <a:srgbClr val="000000"/>
                </a:solidFill>
                <a:latin typeface="微软雅黑" pitchFamily="34" charset="-122"/>
                <a:ea typeface="微软雅黑" pitchFamily="34" charset="-122"/>
              </a:rPr>
              <a:t>20</a:t>
            </a:r>
            <a:r>
              <a:rPr lang="zh-CN" altLang="en-US" sz="1000" dirty="0">
                <a:solidFill>
                  <a:srgbClr val="000000"/>
                </a:solidFill>
                <a:latin typeface="微软雅黑" pitchFamily="34" charset="-122"/>
                <a:ea typeface="微软雅黑" pitchFamily="34" charset="-122"/>
              </a:rPr>
              <a:t>万台</a:t>
            </a:r>
            <a:r>
              <a:rPr lang="en-US" altLang="zh-CN" sz="1000" dirty="0">
                <a:solidFill>
                  <a:srgbClr val="000000"/>
                </a:solidFill>
                <a:latin typeface="微软雅黑" pitchFamily="34" charset="-122"/>
                <a:ea typeface="微软雅黑" pitchFamily="34" charset="-122"/>
              </a:rPr>
              <a:t>/</a:t>
            </a:r>
            <a:r>
              <a:rPr lang="zh-CN" altLang="en-US" sz="1000" dirty="0">
                <a:solidFill>
                  <a:srgbClr val="000000"/>
                </a:solidFill>
                <a:latin typeface="微软雅黑" pitchFamily="34" charset="-122"/>
                <a:ea typeface="微软雅黑" pitchFamily="34" charset="-122"/>
              </a:rPr>
              <a:t>年</a:t>
            </a:r>
            <a:endParaRPr lang="en-US" altLang="zh-CN" sz="1100" dirty="0">
              <a:solidFill>
                <a:srgbClr val="000000"/>
              </a:solidFill>
              <a:latin typeface="微软雅黑" pitchFamily="34" charset="-122"/>
              <a:ea typeface="微软雅黑" pitchFamily="34" charset="-122"/>
            </a:endParaRPr>
          </a:p>
          <a:p>
            <a:pPr eaLnBrk="0" hangingPunct="0">
              <a:lnSpc>
                <a:spcPct val="150000"/>
              </a:lnSpc>
            </a:pPr>
            <a:r>
              <a:rPr lang="zh-CN" altLang="en-US" sz="1400" dirty="0">
                <a:solidFill>
                  <a:srgbClr val="000000"/>
                </a:solidFill>
                <a:latin typeface="微软雅黑" pitchFamily="34" charset="-122"/>
                <a:ea typeface="微软雅黑" pitchFamily="34" charset="-122"/>
              </a:rPr>
              <a:t>■</a:t>
            </a:r>
            <a:r>
              <a:rPr lang="zh-CN" altLang="en-US" sz="1100" dirty="0">
                <a:solidFill>
                  <a:srgbClr val="000000"/>
                </a:solidFill>
                <a:latin typeface="微软雅黑" pitchFamily="34" charset="-122"/>
                <a:ea typeface="微软雅黑" pitchFamily="34" charset="-122"/>
              </a:rPr>
              <a:t> 生产效率</a:t>
            </a:r>
            <a:r>
              <a:rPr lang="en-US" altLang="zh-CN" sz="1000" dirty="0">
                <a:solidFill>
                  <a:srgbClr val="000000"/>
                </a:solidFill>
                <a:latin typeface="微软雅黑" pitchFamily="34" charset="-122"/>
                <a:ea typeface="微软雅黑" pitchFamily="34" charset="-122"/>
              </a:rPr>
              <a:t>Efficiently</a:t>
            </a:r>
            <a:r>
              <a:rPr lang="zh-CN" altLang="en-US" sz="1100" dirty="0">
                <a:solidFill>
                  <a:srgbClr val="000000"/>
                </a:solidFill>
                <a:latin typeface="微软雅黑" pitchFamily="34" charset="-122"/>
                <a:ea typeface="微软雅黑" pitchFamily="34" charset="-122"/>
              </a:rPr>
              <a:t>：</a:t>
            </a:r>
            <a:r>
              <a:rPr lang="en-US" altLang="zh-CN" sz="1100" dirty="0">
                <a:solidFill>
                  <a:srgbClr val="000000"/>
                </a:solidFill>
                <a:latin typeface="微软雅黑" pitchFamily="34" charset="-122"/>
                <a:ea typeface="微软雅黑" pitchFamily="34" charset="-122"/>
              </a:rPr>
              <a:t>55JPH</a:t>
            </a:r>
          </a:p>
          <a:p>
            <a:pPr eaLnBrk="0" hangingPunct="0">
              <a:lnSpc>
                <a:spcPct val="150000"/>
              </a:lnSpc>
            </a:pPr>
            <a:r>
              <a:rPr lang="zh-CN" altLang="en-US" sz="1400" dirty="0">
                <a:solidFill>
                  <a:srgbClr val="000000"/>
                </a:solidFill>
                <a:latin typeface="微软雅黑" pitchFamily="34" charset="-122"/>
                <a:ea typeface="微软雅黑" pitchFamily="34" charset="-122"/>
              </a:rPr>
              <a:t>■ </a:t>
            </a:r>
            <a:r>
              <a:rPr lang="zh-CN" altLang="en-US" sz="1100" dirty="0">
                <a:solidFill>
                  <a:srgbClr val="000000"/>
                </a:solidFill>
                <a:latin typeface="微软雅黑" pitchFamily="34" charset="-122"/>
                <a:ea typeface="微软雅黑" pitchFamily="34" charset="-122"/>
              </a:rPr>
              <a:t>生产工艺</a:t>
            </a:r>
            <a:r>
              <a:rPr lang="en-US" altLang="zh-CN" sz="1100" dirty="0">
                <a:solidFill>
                  <a:srgbClr val="000000"/>
                </a:solidFill>
                <a:latin typeface="微软雅黑" pitchFamily="34" charset="-122"/>
                <a:ea typeface="微软雅黑" pitchFamily="34" charset="-122"/>
              </a:rPr>
              <a:t>Advance process</a:t>
            </a:r>
          </a:p>
          <a:p>
            <a:pPr eaLnBrk="0" hangingPunct="0">
              <a:lnSpc>
                <a:spcPct val="150000"/>
              </a:lnSpc>
            </a:pPr>
            <a:r>
              <a:rPr lang="zh-CN" altLang="zh-CN" sz="800" dirty="0">
                <a:solidFill>
                  <a:srgbClr val="000000"/>
                </a:solidFill>
                <a:latin typeface="微软雅黑" pitchFamily="34" charset="-122"/>
                <a:ea typeface="微软雅黑" pitchFamily="34" charset="-122"/>
              </a:rPr>
              <a:t>•</a:t>
            </a:r>
            <a:r>
              <a:rPr lang="en-US" altLang="zh-CN" sz="800" dirty="0">
                <a:solidFill>
                  <a:srgbClr val="000000"/>
                </a:solidFill>
                <a:latin typeface="微软雅黑" pitchFamily="34" charset="-122"/>
                <a:ea typeface="微软雅黑" pitchFamily="34" charset="-122"/>
              </a:rPr>
              <a:t> </a:t>
            </a:r>
            <a:r>
              <a:rPr lang="zh-CN" altLang="en-US" sz="800" dirty="0">
                <a:solidFill>
                  <a:srgbClr val="000000"/>
                </a:solidFill>
                <a:latin typeface="微软雅黑" pitchFamily="34" charset="-122"/>
                <a:ea typeface="微软雅黑" pitchFamily="34" charset="-122"/>
              </a:rPr>
              <a:t>面漆采用国际先进的</a:t>
            </a:r>
            <a:r>
              <a:rPr lang="zh-CN" altLang="en-US" sz="1100" b="1" dirty="0">
                <a:solidFill>
                  <a:srgbClr val="C00000"/>
                </a:solidFill>
                <a:latin typeface="微软雅黑" pitchFamily="34" charset="-122"/>
                <a:ea typeface="微软雅黑" pitchFamily="34" charset="-122"/>
              </a:rPr>
              <a:t>水性免中涂</a:t>
            </a:r>
            <a:r>
              <a:rPr lang="zh-CN" altLang="en-US" sz="800" dirty="0">
                <a:solidFill>
                  <a:srgbClr val="000000"/>
                </a:solidFill>
                <a:latin typeface="微软雅黑" pitchFamily="34" charset="-122"/>
                <a:ea typeface="微软雅黑" pitchFamily="34" charset="-122"/>
              </a:rPr>
              <a:t>紧凑型工艺（</a:t>
            </a:r>
            <a:r>
              <a:rPr lang="en-US" altLang="zh-CN" sz="800" dirty="0">
                <a:solidFill>
                  <a:srgbClr val="000000"/>
                </a:solidFill>
                <a:latin typeface="微软雅黑" pitchFamily="34" charset="-122"/>
                <a:ea typeface="微软雅黑" pitchFamily="34" charset="-122"/>
              </a:rPr>
              <a:t>IPP2</a:t>
            </a:r>
            <a:r>
              <a:rPr lang="zh-CN" altLang="en-US" sz="800" dirty="0">
                <a:solidFill>
                  <a:srgbClr val="000000"/>
                </a:solidFill>
                <a:latin typeface="微软雅黑" pitchFamily="34" charset="-122"/>
                <a:ea typeface="微软雅黑" pitchFamily="34" charset="-122"/>
              </a:rPr>
              <a:t>），减少涂料用量，降低能源消耗</a:t>
            </a:r>
            <a:r>
              <a:rPr lang="en-US" altLang="zh-CN" sz="800" dirty="0">
                <a:solidFill>
                  <a:srgbClr val="000000"/>
                </a:solidFill>
                <a:latin typeface="微软雅黑" pitchFamily="34" charset="-122"/>
                <a:ea typeface="微软雅黑" pitchFamily="34" charset="-122"/>
              </a:rPr>
              <a:t>15%</a:t>
            </a:r>
            <a:r>
              <a:rPr lang="zh-CN" altLang="en-US" sz="800" dirty="0">
                <a:solidFill>
                  <a:srgbClr val="000000"/>
                </a:solidFill>
                <a:latin typeface="微软雅黑" pitchFamily="34" charset="-122"/>
                <a:ea typeface="微软雅黑" pitchFamily="34" charset="-122"/>
              </a:rPr>
              <a:t>，降低</a:t>
            </a:r>
            <a:r>
              <a:rPr lang="en-US" altLang="zh-CN" sz="800" dirty="0">
                <a:solidFill>
                  <a:srgbClr val="000000"/>
                </a:solidFill>
                <a:latin typeface="微软雅黑" pitchFamily="34" charset="-122"/>
                <a:ea typeface="微软雅黑" pitchFamily="34" charset="-122"/>
              </a:rPr>
              <a:t>VOC</a:t>
            </a:r>
            <a:r>
              <a:rPr lang="zh-CN" altLang="en-US" sz="800" dirty="0">
                <a:solidFill>
                  <a:srgbClr val="000000"/>
                </a:solidFill>
                <a:latin typeface="微软雅黑" pitchFamily="34" charset="-122"/>
                <a:ea typeface="微软雅黑" pitchFamily="34" charset="-122"/>
              </a:rPr>
              <a:t>排放</a:t>
            </a:r>
            <a:r>
              <a:rPr lang="en-US" altLang="zh-CN" sz="1100" dirty="0">
                <a:solidFill>
                  <a:srgbClr val="C00000"/>
                </a:solidFill>
                <a:latin typeface="微软雅黑" pitchFamily="34" charset="-122"/>
                <a:ea typeface="微软雅黑" pitchFamily="34" charset="-122"/>
              </a:rPr>
              <a:t>50%</a:t>
            </a:r>
          </a:p>
          <a:p>
            <a:pPr eaLnBrk="0" hangingPunct="0">
              <a:lnSpc>
                <a:spcPct val="150000"/>
              </a:lnSpc>
            </a:pPr>
            <a:r>
              <a:rPr lang="zh-CN" altLang="zh-CN" sz="800" dirty="0">
                <a:solidFill>
                  <a:srgbClr val="000000"/>
                </a:solidFill>
                <a:latin typeface="微软雅黑" pitchFamily="34" charset="-122"/>
                <a:ea typeface="微软雅黑" pitchFamily="34" charset="-122"/>
              </a:rPr>
              <a:t>•</a:t>
            </a:r>
            <a:r>
              <a:rPr lang="en-US" altLang="zh-CN" sz="800" dirty="0">
                <a:solidFill>
                  <a:srgbClr val="000000"/>
                </a:solidFill>
                <a:latin typeface="微软雅黑" pitchFamily="34" charset="-122"/>
                <a:ea typeface="微软雅黑" pitchFamily="34" charset="-122"/>
              </a:rPr>
              <a:t> </a:t>
            </a:r>
            <a:r>
              <a:rPr lang="zh-CN" altLang="en-US" sz="800" dirty="0">
                <a:solidFill>
                  <a:srgbClr val="000000"/>
                </a:solidFill>
                <a:latin typeface="微软雅黑" pitchFamily="34" charset="-122"/>
                <a:ea typeface="微软雅黑" pitchFamily="34" charset="-122"/>
              </a:rPr>
              <a:t>采用</a:t>
            </a:r>
            <a:r>
              <a:rPr lang="en-US" altLang="zh-CN" sz="800" dirty="0">
                <a:solidFill>
                  <a:srgbClr val="000000"/>
                </a:solidFill>
                <a:latin typeface="微软雅黑" pitchFamily="34" charset="-122"/>
                <a:ea typeface="微软雅黑" pitchFamily="34" charset="-122"/>
              </a:rPr>
              <a:t>7</a:t>
            </a:r>
            <a:r>
              <a:rPr lang="zh-CN" altLang="en-US" sz="800" dirty="0">
                <a:solidFill>
                  <a:srgbClr val="000000"/>
                </a:solidFill>
                <a:latin typeface="微软雅黑" pitchFamily="34" charset="-122"/>
                <a:ea typeface="微软雅黑" pitchFamily="34" charset="-122"/>
              </a:rPr>
              <a:t>台机器人喷涂</a:t>
            </a:r>
            <a:r>
              <a:rPr lang="zh-CN" altLang="en-US" sz="1100" b="1" dirty="0">
                <a:solidFill>
                  <a:srgbClr val="C00000"/>
                </a:solidFill>
                <a:latin typeface="微软雅黑" pitchFamily="34" charset="-122"/>
                <a:ea typeface="微软雅黑" pitchFamily="34" charset="-122"/>
              </a:rPr>
              <a:t>液态阻尼地板</a:t>
            </a:r>
            <a:r>
              <a:rPr lang="zh-CN" altLang="en-US" sz="800" dirty="0">
                <a:solidFill>
                  <a:srgbClr val="000000"/>
                </a:solidFill>
                <a:latin typeface="微软雅黑" pitchFamily="34" charset="-122"/>
                <a:ea typeface="微软雅黑" pitchFamily="34" charset="-122"/>
              </a:rPr>
              <a:t>，取代沥青地板垫，降低车内污染</a:t>
            </a:r>
            <a:endParaRPr lang="en-US" altLang="zh-CN" sz="800" dirty="0">
              <a:solidFill>
                <a:srgbClr val="000000"/>
              </a:solidFill>
              <a:latin typeface="微软雅黑" pitchFamily="34" charset="-122"/>
              <a:ea typeface="微软雅黑" pitchFamily="34" charset="-122"/>
            </a:endParaRPr>
          </a:p>
          <a:p>
            <a:pPr eaLnBrk="0" hangingPunct="0">
              <a:lnSpc>
                <a:spcPct val="150000"/>
              </a:lnSpc>
            </a:pPr>
            <a:r>
              <a:rPr lang="en-US" altLang="zh-CN" sz="800" dirty="0">
                <a:solidFill>
                  <a:srgbClr val="000000"/>
                </a:solidFill>
                <a:latin typeface="微软雅黑" pitchFamily="34" charset="-122"/>
                <a:ea typeface="微软雅黑" pitchFamily="34" charset="-122"/>
              </a:rPr>
              <a:t>Top coat adopts world class IPP2 which reduces paint consumption and energy consumption by 15% and VOC emission by 50%</a:t>
            </a:r>
          </a:p>
        </p:txBody>
      </p:sp>
      <p:pic>
        <p:nvPicPr>
          <p:cNvPr id="13" name="Picture 4"/>
          <p:cNvPicPr>
            <a:picLocks noChangeAspect="1" noChangeArrowheads="1"/>
          </p:cNvPicPr>
          <p:nvPr/>
        </p:nvPicPr>
        <p:blipFill>
          <a:blip r:embed="rId4">
            <a:extLst>
              <a:ext uri="{28A0092B-C50C-407E-A947-70E740481C1C}">
                <a14:useLocalDpi xmlns:a14="http://schemas.microsoft.com/office/drawing/2010/main" val="0"/>
              </a:ext>
            </a:extLst>
          </a:blip>
          <a:srcRect t="2504" b="2"/>
          <a:stretch>
            <a:fillRect/>
          </a:stretch>
        </p:blipFill>
        <p:spPr bwMode="auto">
          <a:xfrm>
            <a:off x="674275" y="4475333"/>
            <a:ext cx="7676653" cy="911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4809877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5"/>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697132" y="625254"/>
            <a:ext cx="2074668" cy="615531"/>
          </a:xfrm>
          <a:prstGeom prst="rect">
            <a:avLst/>
          </a:prstGeom>
          <a:noFill/>
        </p:spPr>
        <p:txBody>
          <a:bodyPr wrap="square" lIns="91419" tIns="45709" rIns="91419" bIns="45709" rtlCol="0">
            <a:spAutoFit/>
          </a:bodyPr>
          <a:lstStyle/>
          <a:p>
            <a:r>
              <a:rPr lang="zh-CN" altLang="en-US" sz="2000" b="1" dirty="0">
                <a:solidFill>
                  <a:srgbClr val="C00000"/>
                </a:solidFill>
                <a:latin typeface="微软雅黑" pitchFamily="34" charset="-122"/>
                <a:ea typeface="微软雅黑" pitchFamily="34" charset="-122"/>
              </a:rPr>
              <a:t>总装车间</a:t>
            </a:r>
            <a:endParaRPr lang="en-US" altLang="zh-CN" sz="2000" b="1" dirty="0">
              <a:solidFill>
                <a:srgbClr val="C00000"/>
              </a:solidFill>
              <a:latin typeface="微软雅黑" pitchFamily="34" charset="-122"/>
              <a:ea typeface="微软雅黑" pitchFamily="34" charset="-122"/>
            </a:endParaRPr>
          </a:p>
          <a:p>
            <a:r>
              <a:rPr lang="en-US" altLang="zh-CN" sz="1400" b="1" dirty="0">
                <a:solidFill>
                  <a:srgbClr val="C00000"/>
                </a:solidFill>
                <a:latin typeface="微软雅黑" pitchFamily="34" charset="-122"/>
                <a:ea typeface="微软雅黑" pitchFamily="34" charset="-122"/>
              </a:rPr>
              <a:t>Assembly</a:t>
            </a:r>
            <a:endParaRPr lang="zh-CN" altLang="en-US" sz="1400" b="1" dirty="0">
              <a:solidFill>
                <a:srgbClr val="C00000"/>
              </a:solidFill>
              <a:latin typeface="微软雅黑" pitchFamily="34" charset="-122"/>
              <a:ea typeface="微软雅黑" pitchFamily="34" charset="-122"/>
            </a:endParaRPr>
          </a:p>
        </p:txBody>
      </p:sp>
      <p:sp>
        <p:nvSpPr>
          <p:cNvPr id="6"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sp>
        <p:nvSpPr>
          <p:cNvPr id="10" name="灯片编号占位符 1"/>
          <p:cNvSpPr>
            <a:spLocks noGrp="1"/>
          </p:cNvSpPr>
          <p:nvPr>
            <p:ph type="sldNum" sz="quarter" idx="10"/>
          </p:nvPr>
        </p:nvSpPr>
        <p:spPr>
          <a:xfrm>
            <a:off x="8651507" y="5343123"/>
            <a:ext cx="36004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fld id="{A6C54AB4-FD64-4F86-9BF0-7210CD94CCAC}" type="slidenum">
              <a:rPr lang="zh-CN" altLang="en-US" sz="1000">
                <a:solidFill>
                  <a:srgbClr val="7F7F7F"/>
                </a:solidFill>
                <a:latin typeface="微软雅黑" pitchFamily="34" charset="-122"/>
                <a:ea typeface="微软雅黑" pitchFamily="34" charset="-122"/>
              </a:rPr>
              <a:pPr algn="ctr"/>
              <a:t>13</a:t>
            </a:fld>
            <a:endParaRPr lang="zh-CN" altLang="en-US" sz="1000" dirty="0">
              <a:solidFill>
                <a:srgbClr val="7F7F7F"/>
              </a:solidFill>
              <a:latin typeface="微软雅黑" pitchFamily="34" charset="-122"/>
              <a:ea typeface="微软雅黑" pitchFamily="34" charset="-122"/>
            </a:endParaRPr>
          </a:p>
        </p:txBody>
      </p:sp>
      <p:grpSp>
        <p:nvGrpSpPr>
          <p:cNvPr id="2" name="组合 1"/>
          <p:cNvGrpSpPr/>
          <p:nvPr/>
        </p:nvGrpSpPr>
        <p:grpSpPr>
          <a:xfrm>
            <a:off x="864100" y="1573453"/>
            <a:ext cx="7812359" cy="3527837"/>
            <a:chOff x="864097" y="1573453"/>
            <a:chExt cx="7812359" cy="3527837"/>
          </a:xfrm>
        </p:grpSpPr>
        <p:pic>
          <p:nvPicPr>
            <p:cNvPr id="14" name="Picture 7"/>
            <p:cNvPicPr>
              <a:picLocks noChangeAspect="1" noChangeArrowheads="1"/>
            </p:cNvPicPr>
            <p:nvPr/>
          </p:nvPicPr>
          <p:blipFill rotWithShape="1">
            <a:blip r:embed="rId3">
              <a:extLst>
                <a:ext uri="{28A0092B-C50C-407E-A947-70E740481C1C}">
                  <a14:useLocalDpi xmlns:a14="http://schemas.microsoft.com/office/drawing/2010/main" val="0"/>
                </a:ext>
              </a:extLst>
            </a:blip>
            <a:srcRect r="19861"/>
            <a:stretch/>
          </p:blipFill>
          <p:spPr bwMode="auto">
            <a:xfrm>
              <a:off x="4104456" y="1589608"/>
              <a:ext cx="4572000" cy="3451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4"/>
            <p:cNvSpPr txBox="1">
              <a:spLocks noChangeArrowheads="1"/>
            </p:cNvSpPr>
            <p:nvPr/>
          </p:nvSpPr>
          <p:spPr bwMode="auto">
            <a:xfrm>
              <a:off x="864097" y="3400824"/>
              <a:ext cx="3240359" cy="1700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lnSpc>
                  <a:spcPct val="125000"/>
                </a:lnSpc>
                <a:defRPr/>
              </a:pPr>
              <a:r>
                <a:rPr lang="zh-CN" altLang="en-US" sz="1200" dirty="0">
                  <a:solidFill>
                    <a:srgbClr val="000000"/>
                  </a:solidFill>
                  <a:latin typeface="微软雅黑" pitchFamily="34" charset="-122"/>
                  <a:ea typeface="微软雅黑" pitchFamily="34" charset="-122"/>
                </a:rPr>
                <a:t>■</a:t>
              </a:r>
              <a:r>
                <a:rPr lang="zh-CN" altLang="en-US" sz="1100" dirty="0">
                  <a:solidFill>
                    <a:srgbClr val="000000"/>
                  </a:solidFill>
                  <a:latin typeface="微软雅黑" pitchFamily="34" charset="-122"/>
                  <a:ea typeface="微软雅黑" pitchFamily="34" charset="-122"/>
                </a:rPr>
                <a:t> </a:t>
              </a:r>
              <a:r>
                <a:rPr lang="zh-CN" altLang="en-US" sz="1000" dirty="0">
                  <a:solidFill>
                    <a:srgbClr val="000000"/>
                  </a:solidFill>
                  <a:latin typeface="微软雅黑" pitchFamily="34" charset="-122"/>
                  <a:ea typeface="微软雅黑" pitchFamily="34" charset="-122"/>
                </a:rPr>
                <a:t>建筑面积</a:t>
              </a:r>
              <a:r>
                <a:rPr lang="en-US" altLang="zh-CN" sz="1000" dirty="0">
                  <a:solidFill>
                    <a:srgbClr val="000000"/>
                  </a:solidFill>
                  <a:latin typeface="微软雅黑" pitchFamily="34" charset="-122"/>
                  <a:ea typeface="微软雅黑" pitchFamily="34" charset="-122"/>
                </a:rPr>
                <a:t>Phase one </a:t>
              </a:r>
              <a:r>
                <a:rPr lang="zh-CN" altLang="en-US" sz="1000" dirty="0">
                  <a:solidFill>
                    <a:srgbClr val="000000"/>
                  </a:solidFill>
                  <a:latin typeface="微软雅黑" pitchFamily="34" charset="-122"/>
                  <a:ea typeface="微软雅黑" pitchFamily="34" charset="-122"/>
                </a:rPr>
                <a:t>：</a:t>
              </a:r>
              <a:r>
                <a:rPr lang="en-US" altLang="zh-CN" sz="1000" dirty="0">
                  <a:solidFill>
                    <a:srgbClr val="000000"/>
                  </a:solidFill>
                  <a:latin typeface="微软雅黑" pitchFamily="34" charset="-122"/>
                  <a:ea typeface="微软雅黑" pitchFamily="34" charset="-122"/>
                </a:rPr>
                <a:t>74409M</a:t>
              </a:r>
              <a:r>
                <a:rPr lang="en-US" altLang="zh-CN" sz="1000" baseline="30000" dirty="0">
                  <a:solidFill>
                    <a:srgbClr val="000000"/>
                  </a:solidFill>
                  <a:latin typeface="微软雅黑" pitchFamily="34" charset="-122"/>
                  <a:ea typeface="微软雅黑" pitchFamily="34" charset="-122"/>
                </a:rPr>
                <a:t>2</a:t>
              </a:r>
            </a:p>
            <a:p>
              <a:pPr eaLnBrk="0" hangingPunct="0">
                <a:lnSpc>
                  <a:spcPct val="125000"/>
                </a:lnSpc>
                <a:defRPr/>
              </a:pPr>
              <a:r>
                <a:rPr lang="zh-CN" altLang="en-US" sz="1200" dirty="0">
                  <a:solidFill>
                    <a:srgbClr val="000000"/>
                  </a:solidFill>
                  <a:latin typeface="微软雅黑" pitchFamily="34" charset="-122"/>
                  <a:ea typeface="微软雅黑" pitchFamily="34" charset="-122"/>
                </a:rPr>
                <a:t>■ </a:t>
              </a:r>
              <a:r>
                <a:rPr lang="zh-CN" altLang="en-US" sz="1000" dirty="0">
                  <a:solidFill>
                    <a:srgbClr val="000000"/>
                  </a:solidFill>
                  <a:latin typeface="微软雅黑" pitchFamily="34" charset="-122"/>
                  <a:ea typeface="微软雅黑" pitchFamily="34" charset="-122"/>
                </a:rPr>
                <a:t>生产能力</a:t>
              </a:r>
              <a:r>
                <a:rPr lang="en-US" altLang="zh-CN" sz="1000" dirty="0">
                  <a:solidFill>
                    <a:srgbClr val="000000"/>
                  </a:solidFill>
                  <a:latin typeface="微软雅黑" pitchFamily="34" charset="-122"/>
                  <a:ea typeface="微软雅黑" pitchFamily="34" charset="-122"/>
                </a:rPr>
                <a:t>Production Capacity </a:t>
              </a:r>
              <a:r>
                <a:rPr lang="zh-CN" altLang="en-US" sz="1000" dirty="0">
                  <a:solidFill>
                    <a:srgbClr val="000000"/>
                  </a:solidFill>
                  <a:latin typeface="微软雅黑" pitchFamily="34" charset="-122"/>
                  <a:ea typeface="微软雅黑" pitchFamily="34" charset="-122"/>
                </a:rPr>
                <a:t>：</a:t>
              </a:r>
              <a:r>
                <a:rPr lang="en-US" altLang="zh-CN" sz="1000" dirty="0">
                  <a:solidFill>
                    <a:srgbClr val="000000"/>
                  </a:solidFill>
                  <a:latin typeface="微软雅黑" pitchFamily="34" charset="-122"/>
                  <a:ea typeface="微软雅黑" pitchFamily="34" charset="-122"/>
                </a:rPr>
                <a:t>20</a:t>
              </a:r>
              <a:r>
                <a:rPr lang="zh-CN" altLang="en-US" sz="1000" dirty="0">
                  <a:solidFill>
                    <a:srgbClr val="000000"/>
                  </a:solidFill>
                  <a:latin typeface="微软雅黑" pitchFamily="34" charset="-122"/>
                  <a:ea typeface="微软雅黑" pitchFamily="34" charset="-122"/>
                </a:rPr>
                <a:t>万台</a:t>
              </a:r>
              <a:r>
                <a:rPr lang="en-US" altLang="zh-CN" sz="1000" dirty="0">
                  <a:solidFill>
                    <a:srgbClr val="000000"/>
                  </a:solidFill>
                  <a:latin typeface="微软雅黑" pitchFamily="34" charset="-122"/>
                  <a:ea typeface="微软雅黑" pitchFamily="34" charset="-122"/>
                </a:rPr>
                <a:t>/</a:t>
              </a:r>
              <a:r>
                <a:rPr lang="zh-CN" altLang="en-US" sz="1000" dirty="0">
                  <a:solidFill>
                    <a:srgbClr val="000000"/>
                  </a:solidFill>
                  <a:latin typeface="微软雅黑" pitchFamily="34" charset="-122"/>
                  <a:ea typeface="微软雅黑" pitchFamily="34" charset="-122"/>
                </a:rPr>
                <a:t>年</a:t>
              </a:r>
              <a:endParaRPr lang="en-US" altLang="zh-CN" sz="1000" dirty="0">
                <a:solidFill>
                  <a:srgbClr val="000000"/>
                </a:solidFill>
                <a:latin typeface="微软雅黑" pitchFamily="34" charset="-122"/>
                <a:ea typeface="微软雅黑" pitchFamily="34" charset="-122"/>
              </a:endParaRPr>
            </a:p>
            <a:p>
              <a:pPr eaLnBrk="0" hangingPunct="0">
                <a:lnSpc>
                  <a:spcPct val="125000"/>
                </a:lnSpc>
                <a:defRPr/>
              </a:pPr>
              <a:r>
                <a:rPr lang="zh-CN" altLang="en-US" sz="1200" dirty="0">
                  <a:solidFill>
                    <a:srgbClr val="000000"/>
                  </a:solidFill>
                  <a:latin typeface="微软雅黑" pitchFamily="34" charset="-122"/>
                  <a:ea typeface="微软雅黑" pitchFamily="34" charset="-122"/>
                </a:rPr>
                <a:t>■</a:t>
              </a:r>
              <a:r>
                <a:rPr lang="zh-CN" altLang="en-US" sz="1400" dirty="0">
                  <a:solidFill>
                    <a:srgbClr val="000000"/>
                  </a:solidFill>
                  <a:latin typeface="微软雅黑" pitchFamily="34" charset="-122"/>
                  <a:ea typeface="微软雅黑" pitchFamily="34" charset="-122"/>
                </a:rPr>
                <a:t> </a:t>
              </a:r>
              <a:r>
                <a:rPr lang="zh-CN" altLang="en-US" sz="1000" dirty="0">
                  <a:solidFill>
                    <a:srgbClr val="000000"/>
                  </a:solidFill>
                  <a:latin typeface="微软雅黑" pitchFamily="34" charset="-122"/>
                  <a:ea typeface="微软雅黑" pitchFamily="34" charset="-122"/>
                </a:rPr>
                <a:t>生产特点</a:t>
              </a:r>
              <a:r>
                <a:rPr lang="en-US" altLang="zh-CN" sz="1000" dirty="0">
                  <a:solidFill>
                    <a:srgbClr val="000000"/>
                  </a:solidFill>
                  <a:latin typeface="微软雅黑" pitchFamily="34" charset="-122"/>
                  <a:ea typeface="微软雅黑" pitchFamily="34" charset="-122"/>
                </a:rPr>
                <a:t>Advance process</a:t>
              </a:r>
            </a:p>
            <a:p>
              <a:pPr eaLnBrk="0" hangingPunct="0">
                <a:lnSpc>
                  <a:spcPct val="150000"/>
                </a:lnSpc>
                <a:defRPr/>
              </a:pPr>
              <a:r>
                <a:rPr lang="en-US" altLang="zh-CN" sz="900" dirty="0">
                  <a:solidFill>
                    <a:srgbClr val="000000"/>
                  </a:solidFill>
                  <a:latin typeface="微软雅黑" pitchFamily="34" charset="-122"/>
                  <a:ea typeface="微软雅黑" pitchFamily="34" charset="-122"/>
                </a:rPr>
                <a:t>• </a:t>
              </a:r>
              <a:r>
                <a:rPr lang="zh-CN" altLang="en-US" sz="1100" dirty="0">
                  <a:solidFill>
                    <a:srgbClr val="C00000"/>
                  </a:solidFill>
                  <a:latin typeface="微软雅黑" pitchFamily="34" charset="-122"/>
                  <a:ea typeface="微软雅黑" pitchFamily="34" charset="-122"/>
                </a:rPr>
                <a:t>底盘采用整体自动化合装方式</a:t>
              </a:r>
              <a:r>
                <a:rPr lang="en-US" altLang="zh-CN" sz="900" dirty="0">
                  <a:solidFill>
                    <a:srgbClr val="000000"/>
                  </a:solidFill>
                  <a:latin typeface="微软雅黑" pitchFamily="34" charset="-122"/>
                  <a:ea typeface="微软雅黑" pitchFamily="34" charset="-122"/>
                </a:rPr>
                <a:t>Chassis line adopts the integrated automation assembly; </a:t>
              </a:r>
            </a:p>
            <a:p>
              <a:pPr eaLnBrk="0" hangingPunct="0">
                <a:lnSpc>
                  <a:spcPct val="150000"/>
                </a:lnSpc>
                <a:defRPr/>
              </a:pPr>
              <a:r>
                <a:rPr lang="en-US" altLang="zh-CN" sz="900" dirty="0">
                  <a:solidFill>
                    <a:srgbClr val="000000"/>
                  </a:solidFill>
                  <a:latin typeface="微软雅黑" pitchFamily="34" charset="-122"/>
                  <a:ea typeface="微软雅黑" pitchFamily="34" charset="-122"/>
                </a:rPr>
                <a:t>• </a:t>
              </a:r>
              <a:r>
                <a:rPr lang="zh-CN" altLang="en-US" sz="900" dirty="0">
                  <a:solidFill>
                    <a:srgbClr val="000000"/>
                  </a:solidFill>
                  <a:latin typeface="微软雅黑" pitchFamily="34" charset="-122"/>
                  <a:ea typeface="微软雅黑" pitchFamily="34" charset="-122"/>
                </a:rPr>
                <a:t>采用装配信息化管理系统（</a:t>
              </a:r>
              <a:r>
                <a:rPr lang="en-US" altLang="zh-CN" sz="900" dirty="0">
                  <a:solidFill>
                    <a:srgbClr val="000000"/>
                  </a:solidFill>
                  <a:latin typeface="微软雅黑" pitchFamily="34" charset="-122"/>
                  <a:ea typeface="微软雅黑" pitchFamily="34" charset="-122"/>
                </a:rPr>
                <a:t>SOI</a:t>
              </a:r>
              <a:r>
                <a:rPr lang="zh-CN" altLang="en-US" sz="900" dirty="0">
                  <a:solidFill>
                    <a:srgbClr val="000000"/>
                  </a:solidFill>
                  <a:latin typeface="微软雅黑" pitchFamily="34" charset="-122"/>
                  <a:ea typeface="微软雅黑" pitchFamily="34" charset="-122"/>
                </a:rPr>
                <a:t>），保证整车装配的一致性和可追溯性</a:t>
              </a:r>
              <a:r>
                <a:rPr lang="en-US" altLang="zh-CN" sz="900" dirty="0">
                  <a:solidFill>
                    <a:srgbClr val="000000"/>
                  </a:solidFill>
                  <a:latin typeface="微软雅黑" pitchFamily="34" charset="-122"/>
                  <a:ea typeface="微软雅黑" pitchFamily="34" charset="-122"/>
                </a:rPr>
                <a:t>SOI is adopted to guarantees the conformity.</a:t>
              </a:r>
            </a:p>
          </p:txBody>
        </p:sp>
        <p:pic>
          <p:nvPicPr>
            <p:cNvPr id="16"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7946" y="1573453"/>
              <a:ext cx="3042494" cy="18273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0226567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0" y="1993404"/>
            <a:ext cx="9144000" cy="2520280"/>
          </a:xfrm>
          <a:prstGeom prst="rect">
            <a:avLst/>
          </a:prstGeom>
          <a:gradFill>
            <a:gsLst>
              <a:gs pos="0">
                <a:schemeClr val="tx1">
                  <a:lumMod val="16000"/>
                  <a:lumOff val="84000"/>
                  <a:alpha val="45000"/>
                </a:schemeClr>
              </a:gs>
              <a:gs pos="100000">
                <a:schemeClr val="bg1">
                  <a:lumMod val="4000"/>
                  <a:lumOff val="96000"/>
                </a:schemeClr>
              </a:gs>
              <a:gs pos="50000">
                <a:schemeClr val="bg1">
                  <a:alpha val="60000"/>
                  <a:lumMod val="77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9" tIns="45709" rIns="91419" bIns="45709" rtlCol="0" anchor="ctr"/>
          <a:lstStyle/>
          <a:p>
            <a:pPr algn="ctr"/>
            <a:endParaRPr lang="zh-CN" altLang="en-US"/>
          </a:p>
        </p:txBody>
      </p:sp>
      <p:pic>
        <p:nvPicPr>
          <p:cNvPr id="3" name="图片 5"/>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矩形 21"/>
          <p:cNvSpPr/>
          <p:nvPr/>
        </p:nvSpPr>
        <p:spPr>
          <a:xfrm>
            <a:off x="1475653" y="1993404"/>
            <a:ext cx="2016226" cy="1260140"/>
          </a:xfrm>
          <a:prstGeom prst="rect">
            <a:avLst/>
          </a:prstGeom>
          <a:solidFill>
            <a:srgbClr val="496F9D"/>
          </a:solidFill>
          <a:ln>
            <a:noFill/>
          </a:ln>
        </p:spPr>
        <p:style>
          <a:lnRef idx="2">
            <a:schemeClr val="accent1">
              <a:shade val="50000"/>
            </a:schemeClr>
          </a:lnRef>
          <a:fillRef idx="1">
            <a:schemeClr val="accent1"/>
          </a:fillRef>
          <a:effectRef idx="0">
            <a:schemeClr val="accent1"/>
          </a:effectRef>
          <a:fontRef idx="minor">
            <a:schemeClr val="lt1"/>
          </a:fontRef>
        </p:style>
        <p:txBody>
          <a:bodyPr lIns="91419" tIns="45709" rIns="91419" bIns="45709" rtlCol="0" anchor="ctr"/>
          <a:lstStyle/>
          <a:p>
            <a:pPr algn="ctr"/>
            <a:endParaRPr lang="zh-CN" altLang="en-US"/>
          </a:p>
        </p:txBody>
      </p:sp>
      <p:sp>
        <p:nvSpPr>
          <p:cNvPr id="19" name="TextBox 18"/>
          <p:cNvSpPr txBox="1"/>
          <p:nvPr/>
        </p:nvSpPr>
        <p:spPr>
          <a:xfrm>
            <a:off x="1547658" y="2261839"/>
            <a:ext cx="1872210" cy="692475"/>
          </a:xfrm>
          <a:prstGeom prst="rect">
            <a:avLst/>
          </a:prstGeom>
          <a:noFill/>
        </p:spPr>
        <p:txBody>
          <a:bodyPr wrap="square" lIns="91419" tIns="45709" rIns="91419" bIns="45709" rtlCol="0">
            <a:spAutoFit/>
          </a:bodyPr>
          <a:lstStyle/>
          <a:p>
            <a:r>
              <a:rPr lang="zh-CN" altLang="en-US" sz="2100" b="1" dirty="0">
                <a:solidFill>
                  <a:schemeClr val="bg1">
                    <a:lumMod val="50000"/>
                  </a:schemeClr>
                </a:solidFill>
                <a:latin typeface="微软雅黑" pitchFamily="34" charset="-122"/>
                <a:ea typeface="微软雅黑" pitchFamily="34" charset="-122"/>
              </a:rPr>
              <a:t>公司介绍</a:t>
            </a:r>
            <a:r>
              <a:rPr lang="en-US" altLang="zh-CN" dirty="0" smtClean="0">
                <a:solidFill>
                  <a:schemeClr val="bg1">
                    <a:lumMod val="50000"/>
                  </a:schemeClr>
                </a:solidFill>
                <a:latin typeface="微软雅黑" pitchFamily="34" charset="-122"/>
                <a:ea typeface="微软雅黑" pitchFamily="34" charset="-122"/>
                <a:cs typeface="Arial" pitchFamily="34" charset="0"/>
              </a:rPr>
              <a:t>ABOUT </a:t>
            </a:r>
            <a:r>
              <a:rPr lang="en-US" altLang="zh-CN" dirty="0" smtClean="0">
                <a:solidFill>
                  <a:schemeClr val="bg1">
                    <a:lumMod val="50000"/>
                  </a:schemeClr>
                </a:solidFill>
                <a:latin typeface="微软雅黑" pitchFamily="34" charset="-122"/>
                <a:ea typeface="微软雅黑" pitchFamily="34" charset="-122"/>
                <a:cs typeface="Arial" pitchFamily="34" charset="0"/>
                <a:sym typeface="黑体" pitchFamily="49" charset="-122"/>
              </a:rPr>
              <a:t>CAPSA</a:t>
            </a:r>
            <a:endParaRPr lang="en-US" altLang="zh-CN" dirty="0">
              <a:solidFill>
                <a:schemeClr val="bg1">
                  <a:lumMod val="50000"/>
                </a:schemeClr>
              </a:solidFill>
              <a:latin typeface="微软雅黑" pitchFamily="34" charset="-122"/>
              <a:ea typeface="微软雅黑" pitchFamily="34" charset="-122"/>
              <a:cs typeface="Arial" pitchFamily="34" charset="0"/>
            </a:endParaRPr>
          </a:p>
        </p:txBody>
      </p:sp>
      <p:sp>
        <p:nvSpPr>
          <p:cNvPr id="25" name="矩形 24"/>
          <p:cNvSpPr/>
          <p:nvPr/>
        </p:nvSpPr>
        <p:spPr>
          <a:xfrm>
            <a:off x="3491879" y="3253544"/>
            <a:ext cx="2016226" cy="1260140"/>
          </a:xfrm>
          <a:prstGeom prst="rect">
            <a:avLst/>
          </a:prstGeom>
          <a:solidFill>
            <a:srgbClr val="496F9D"/>
          </a:solidFill>
          <a:ln>
            <a:noFill/>
          </a:ln>
        </p:spPr>
        <p:style>
          <a:lnRef idx="2">
            <a:schemeClr val="accent1">
              <a:shade val="50000"/>
            </a:schemeClr>
          </a:lnRef>
          <a:fillRef idx="1">
            <a:schemeClr val="accent1"/>
          </a:fillRef>
          <a:effectRef idx="0">
            <a:schemeClr val="accent1"/>
          </a:effectRef>
          <a:fontRef idx="minor">
            <a:schemeClr val="lt1"/>
          </a:fontRef>
        </p:style>
        <p:txBody>
          <a:bodyPr lIns="91419" tIns="45709" rIns="91419" bIns="45709" rtlCol="0" anchor="ctr"/>
          <a:lstStyle/>
          <a:p>
            <a:pPr algn="ctr"/>
            <a:endParaRPr lang="zh-CN" altLang="en-US"/>
          </a:p>
        </p:txBody>
      </p:sp>
      <p:sp>
        <p:nvSpPr>
          <p:cNvPr id="20" name="TextBox 19"/>
          <p:cNvSpPr txBox="1"/>
          <p:nvPr/>
        </p:nvSpPr>
        <p:spPr>
          <a:xfrm>
            <a:off x="3707904" y="3398868"/>
            <a:ext cx="1728192" cy="969474"/>
          </a:xfrm>
          <a:prstGeom prst="rect">
            <a:avLst/>
          </a:prstGeom>
          <a:noFill/>
        </p:spPr>
        <p:txBody>
          <a:bodyPr wrap="square" lIns="91419" tIns="45709" rIns="91419" bIns="45709" rtlCol="0">
            <a:spAutoFit/>
          </a:bodyPr>
          <a:lstStyle/>
          <a:p>
            <a:r>
              <a:rPr lang="zh-CN" altLang="en-US" sz="2100" b="1" dirty="0">
                <a:solidFill>
                  <a:schemeClr val="bg1"/>
                </a:solidFill>
                <a:latin typeface="微软雅黑" pitchFamily="34" charset="-122"/>
                <a:ea typeface="微软雅黑" pitchFamily="34" charset="-122"/>
                <a:sym typeface="黑体" pitchFamily="49" charset="-122"/>
              </a:rPr>
              <a:t>品牌及产品</a:t>
            </a:r>
            <a:endParaRPr lang="en-US" altLang="zh-CN" sz="2100" b="1" dirty="0">
              <a:solidFill>
                <a:schemeClr val="bg1"/>
              </a:solidFill>
              <a:latin typeface="微软雅黑" pitchFamily="34" charset="-122"/>
              <a:ea typeface="微软雅黑" pitchFamily="34" charset="-122"/>
              <a:sym typeface="黑体" pitchFamily="49" charset="-122"/>
            </a:endParaRPr>
          </a:p>
          <a:p>
            <a:r>
              <a:rPr lang="en-US" altLang="zh-CN" dirty="0" smtClean="0">
                <a:solidFill>
                  <a:schemeClr val="bg1"/>
                </a:solidFill>
                <a:latin typeface="微软雅黑" pitchFamily="34" charset="-122"/>
                <a:ea typeface="微软雅黑" pitchFamily="34" charset="-122"/>
                <a:cs typeface="Arial" pitchFamily="34" charset="0"/>
                <a:sym typeface="黑体" pitchFamily="49" charset="-122"/>
              </a:rPr>
              <a:t>BRAND </a:t>
            </a:r>
            <a:r>
              <a:rPr lang="en-US" altLang="zh-CN" dirty="0">
                <a:solidFill>
                  <a:schemeClr val="bg1"/>
                </a:solidFill>
                <a:latin typeface="微软雅黑" pitchFamily="34" charset="-122"/>
                <a:ea typeface="微软雅黑" pitchFamily="34" charset="-122"/>
                <a:cs typeface="Arial" pitchFamily="34" charset="0"/>
                <a:sym typeface="黑体" pitchFamily="49" charset="-122"/>
              </a:rPr>
              <a:t>&amp; </a:t>
            </a:r>
            <a:r>
              <a:rPr lang="en-US" altLang="zh-CN" dirty="0" smtClean="0">
                <a:solidFill>
                  <a:schemeClr val="bg1"/>
                </a:solidFill>
                <a:latin typeface="微软雅黑" pitchFamily="34" charset="-122"/>
                <a:ea typeface="微软雅黑" pitchFamily="34" charset="-122"/>
                <a:cs typeface="Arial" pitchFamily="34" charset="0"/>
                <a:sym typeface="黑体" pitchFamily="49" charset="-122"/>
              </a:rPr>
              <a:t>PRODUCTS</a:t>
            </a:r>
            <a:endParaRPr lang="en-US" altLang="zh-CN" sz="2000" dirty="0">
              <a:solidFill>
                <a:schemeClr val="bg1"/>
              </a:solidFill>
              <a:latin typeface="微软雅黑" pitchFamily="34" charset="-122"/>
              <a:ea typeface="微软雅黑" pitchFamily="34" charset="-122"/>
            </a:endParaRPr>
          </a:p>
        </p:txBody>
      </p:sp>
      <p:sp>
        <p:nvSpPr>
          <p:cNvPr id="26" name="矩形 25"/>
          <p:cNvSpPr/>
          <p:nvPr/>
        </p:nvSpPr>
        <p:spPr>
          <a:xfrm>
            <a:off x="5508102" y="1993404"/>
            <a:ext cx="2016226" cy="1260140"/>
          </a:xfrm>
          <a:prstGeom prst="rect">
            <a:avLst/>
          </a:prstGeom>
          <a:solidFill>
            <a:srgbClr val="496F9D"/>
          </a:solidFill>
          <a:ln>
            <a:noFill/>
          </a:ln>
        </p:spPr>
        <p:style>
          <a:lnRef idx="2">
            <a:schemeClr val="accent1">
              <a:shade val="50000"/>
            </a:schemeClr>
          </a:lnRef>
          <a:fillRef idx="1">
            <a:schemeClr val="accent1"/>
          </a:fillRef>
          <a:effectRef idx="0">
            <a:schemeClr val="accent1"/>
          </a:effectRef>
          <a:fontRef idx="minor">
            <a:schemeClr val="lt1"/>
          </a:fontRef>
        </p:style>
        <p:txBody>
          <a:bodyPr lIns="91419" tIns="45709" rIns="91419" bIns="45709" rtlCol="0" anchor="ctr"/>
          <a:lstStyle/>
          <a:p>
            <a:pPr algn="ctr"/>
            <a:endParaRPr lang="zh-CN" altLang="en-US"/>
          </a:p>
        </p:txBody>
      </p:sp>
      <p:sp>
        <p:nvSpPr>
          <p:cNvPr id="21" name="TextBox 20"/>
          <p:cNvSpPr txBox="1"/>
          <p:nvPr/>
        </p:nvSpPr>
        <p:spPr>
          <a:xfrm>
            <a:off x="5834259" y="2280466"/>
            <a:ext cx="1363917" cy="738642"/>
          </a:xfrm>
          <a:prstGeom prst="rect">
            <a:avLst/>
          </a:prstGeom>
          <a:noFill/>
        </p:spPr>
        <p:txBody>
          <a:bodyPr wrap="square" lIns="91419" tIns="45709" rIns="91419" bIns="45709" rtlCol="0">
            <a:spAutoFit/>
          </a:bodyPr>
          <a:lstStyle/>
          <a:p>
            <a:r>
              <a:rPr lang="zh-CN" altLang="en-US" sz="2100" b="1" dirty="0">
                <a:solidFill>
                  <a:schemeClr val="bg1">
                    <a:lumMod val="50000"/>
                  </a:schemeClr>
                </a:solidFill>
                <a:latin typeface="微软雅黑" pitchFamily="34" charset="-122"/>
                <a:ea typeface="微软雅黑" pitchFamily="34" charset="-122"/>
                <a:sym typeface="黑体" pitchFamily="49" charset="-122"/>
              </a:rPr>
              <a:t>企业文化</a:t>
            </a:r>
            <a:r>
              <a:rPr lang="en-US" altLang="zh-CN" sz="2100" dirty="0">
                <a:solidFill>
                  <a:schemeClr val="bg1">
                    <a:lumMod val="50000"/>
                  </a:schemeClr>
                </a:solidFill>
                <a:latin typeface="微软雅黑" pitchFamily="34" charset="-122"/>
                <a:ea typeface="微软雅黑" pitchFamily="34" charset="-122"/>
                <a:sym typeface="黑体" pitchFamily="49" charset="-122"/>
              </a:rPr>
              <a:t>CULTURE</a:t>
            </a:r>
            <a:endParaRPr lang="en-US" altLang="zh-CN" sz="2100" dirty="0">
              <a:solidFill>
                <a:schemeClr val="bg1">
                  <a:lumMod val="50000"/>
                </a:schemeClr>
              </a:solidFill>
              <a:latin typeface="微软雅黑" pitchFamily="34" charset="-122"/>
              <a:ea typeface="微软雅黑" pitchFamily="34" charset="-122"/>
            </a:endParaRPr>
          </a:p>
        </p:txBody>
      </p:sp>
      <p:pic>
        <p:nvPicPr>
          <p:cNvPr id="27" name="Picture 2" descr="D:\6. 影音资料\3. DS 车型图\04(1).jp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17124" r="21508"/>
          <a:stretch/>
        </p:blipFill>
        <p:spPr bwMode="auto">
          <a:xfrm>
            <a:off x="3491877" y="1993408"/>
            <a:ext cx="2016227" cy="126013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581" b="5229"/>
          <a:stretch/>
        </p:blipFill>
        <p:spPr bwMode="auto">
          <a:xfrm>
            <a:off x="1475652" y="3253544"/>
            <a:ext cx="2016225" cy="1260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9705"/>
          <a:stretch/>
        </p:blipFill>
        <p:spPr bwMode="auto">
          <a:xfrm>
            <a:off x="5508106" y="3253545"/>
            <a:ext cx="2016226" cy="1260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697135" y="580828"/>
            <a:ext cx="1858643" cy="692475"/>
          </a:xfrm>
          <a:prstGeom prst="rect">
            <a:avLst/>
          </a:prstGeom>
          <a:noFill/>
        </p:spPr>
        <p:txBody>
          <a:bodyPr wrap="square" lIns="91419" tIns="45709" rIns="91419" bIns="45709" rtlCol="0">
            <a:spAutoFit/>
          </a:bodyPr>
          <a:lstStyle/>
          <a:p>
            <a:r>
              <a:rPr lang="zh-CN" altLang="en-US" sz="2100" b="1" dirty="0">
                <a:solidFill>
                  <a:srgbClr val="C00000"/>
                </a:solidFill>
                <a:latin typeface="微软雅黑" pitchFamily="34" charset="-122"/>
                <a:ea typeface="微软雅黑" pitchFamily="34" charset="-122"/>
              </a:rPr>
              <a:t>目 录</a:t>
            </a:r>
            <a:endParaRPr lang="en-US" altLang="zh-CN" sz="2100" b="1" dirty="0">
              <a:solidFill>
                <a:srgbClr val="C00000"/>
              </a:solidFill>
              <a:latin typeface="微软雅黑" pitchFamily="34" charset="-122"/>
              <a:ea typeface="微软雅黑" pitchFamily="34" charset="-122"/>
            </a:endParaRPr>
          </a:p>
          <a:p>
            <a:r>
              <a:rPr lang="en-US" altLang="zh-CN" b="1" dirty="0" smtClean="0">
                <a:solidFill>
                  <a:srgbClr val="C00000"/>
                </a:solidFill>
                <a:latin typeface="微软雅黑" pitchFamily="34" charset="-122"/>
                <a:ea typeface="微软雅黑" pitchFamily="34" charset="-122"/>
              </a:rPr>
              <a:t>CONTENTS</a:t>
            </a:r>
            <a:endParaRPr lang="zh-CN" altLang="en-US" b="1" dirty="0">
              <a:solidFill>
                <a:srgbClr val="C00000"/>
              </a:solidFill>
              <a:latin typeface="微软雅黑" pitchFamily="34" charset="-122"/>
              <a:ea typeface="微软雅黑" pitchFamily="34" charset="-122"/>
            </a:endParaRPr>
          </a:p>
        </p:txBody>
      </p:sp>
      <p:sp>
        <p:nvSpPr>
          <p:cNvPr id="37"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spTree>
    <p:extLst>
      <p:ext uri="{BB962C8B-B14F-4D97-AF65-F5344CB8AC3E}">
        <p14:creationId xmlns:p14="http://schemas.microsoft.com/office/powerpoint/2010/main" val="176700662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p:cNvPicPr>
            <a:picLocks noChangeAspect="1"/>
          </p:cNvPicPr>
          <p:nvPr/>
        </p:nvPicPr>
        <p:blipFill rotWithShape="1">
          <a:blip r:embed="rId2" cstate="print">
            <a:extLst>
              <a:ext uri="{28A0092B-C50C-407E-A947-70E740481C1C}">
                <a14:useLocalDpi xmlns:a14="http://schemas.microsoft.com/office/drawing/2010/main" val="0"/>
              </a:ext>
            </a:extLst>
          </a:blip>
          <a:srcRect t="11232" b="9002"/>
          <a:stretch/>
        </p:blipFill>
        <p:spPr>
          <a:xfrm>
            <a:off x="844590" y="1352551"/>
            <a:ext cx="4719455" cy="3810000"/>
          </a:xfrm>
          <a:prstGeom prst="rect">
            <a:avLst/>
          </a:prstGeom>
        </p:spPr>
      </p:pic>
      <p:pic>
        <p:nvPicPr>
          <p:cNvPr id="3" name="图片 5"/>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697132" y="625254"/>
            <a:ext cx="2074668" cy="615531"/>
          </a:xfrm>
          <a:prstGeom prst="rect">
            <a:avLst/>
          </a:prstGeom>
          <a:noFill/>
        </p:spPr>
        <p:txBody>
          <a:bodyPr wrap="square" lIns="91419" tIns="45709" rIns="91419" bIns="45709" rtlCol="0">
            <a:spAutoFit/>
          </a:bodyPr>
          <a:lstStyle/>
          <a:p>
            <a:r>
              <a:rPr lang="zh-CN" altLang="en-US" sz="2000" b="1" dirty="0">
                <a:solidFill>
                  <a:srgbClr val="C00000"/>
                </a:solidFill>
                <a:latin typeface="微软雅黑" pitchFamily="34" charset="-122"/>
                <a:ea typeface="微软雅黑" pitchFamily="34" charset="-122"/>
              </a:rPr>
              <a:t>品牌简介</a:t>
            </a:r>
            <a:endParaRPr lang="en-US" altLang="zh-CN" sz="2000" b="1" dirty="0">
              <a:solidFill>
                <a:srgbClr val="C00000"/>
              </a:solidFill>
              <a:latin typeface="微软雅黑" pitchFamily="34" charset="-122"/>
              <a:ea typeface="微软雅黑" pitchFamily="34" charset="-122"/>
            </a:endParaRPr>
          </a:p>
          <a:p>
            <a:r>
              <a:rPr lang="en-US" altLang="zh-CN" sz="1400" b="1" dirty="0">
                <a:solidFill>
                  <a:srgbClr val="C00000"/>
                </a:solidFill>
                <a:latin typeface="微软雅黑" pitchFamily="34" charset="-122"/>
                <a:ea typeface="微软雅黑" pitchFamily="34" charset="-122"/>
                <a:cs typeface="Arial" pitchFamily="34" charset="0"/>
                <a:sym typeface="黑体" pitchFamily="49" charset="-122"/>
              </a:rPr>
              <a:t>About DS</a:t>
            </a:r>
          </a:p>
        </p:txBody>
      </p:sp>
      <p:sp>
        <p:nvSpPr>
          <p:cNvPr id="6"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sp>
        <p:nvSpPr>
          <p:cNvPr id="10" name="灯片编号占位符 1"/>
          <p:cNvSpPr>
            <a:spLocks noGrp="1"/>
          </p:cNvSpPr>
          <p:nvPr>
            <p:ph type="sldNum" sz="quarter" idx="10"/>
          </p:nvPr>
        </p:nvSpPr>
        <p:spPr>
          <a:xfrm>
            <a:off x="8651507" y="5343123"/>
            <a:ext cx="36004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fld id="{A6C54AB4-FD64-4F86-9BF0-7210CD94CCAC}" type="slidenum">
              <a:rPr lang="zh-CN" altLang="en-US" sz="1000">
                <a:solidFill>
                  <a:srgbClr val="7F7F7F"/>
                </a:solidFill>
                <a:latin typeface="微软雅黑" pitchFamily="34" charset="-122"/>
                <a:ea typeface="微软雅黑" pitchFamily="34" charset="-122"/>
              </a:rPr>
              <a:pPr algn="ctr"/>
              <a:t>15</a:t>
            </a:fld>
            <a:endParaRPr lang="zh-CN" altLang="en-US" sz="1000" dirty="0">
              <a:solidFill>
                <a:srgbClr val="7F7F7F"/>
              </a:solidFill>
              <a:latin typeface="微软雅黑" pitchFamily="34" charset="-122"/>
              <a:ea typeface="微软雅黑" pitchFamily="34" charset="-122"/>
            </a:endParaRPr>
          </a:p>
        </p:txBody>
      </p:sp>
      <p:grpSp>
        <p:nvGrpSpPr>
          <p:cNvPr id="26" name="组合 25"/>
          <p:cNvGrpSpPr/>
          <p:nvPr/>
        </p:nvGrpSpPr>
        <p:grpSpPr>
          <a:xfrm>
            <a:off x="4208514" y="3819878"/>
            <a:ext cx="4935486" cy="1433842"/>
            <a:chOff x="4208514" y="3819878"/>
            <a:chExt cx="4935486" cy="1433842"/>
          </a:xfrm>
        </p:grpSpPr>
        <p:sp>
          <p:nvSpPr>
            <p:cNvPr id="27" name="矩形 26"/>
            <p:cNvSpPr/>
            <p:nvPr/>
          </p:nvSpPr>
          <p:spPr>
            <a:xfrm>
              <a:off x="4208514" y="3819878"/>
              <a:ext cx="4935486" cy="1342673"/>
            </a:xfrm>
            <a:prstGeom prst="rect">
              <a:avLst/>
            </a:prstGeom>
            <a:gradFill>
              <a:gsLst>
                <a:gs pos="0">
                  <a:schemeClr val="bg1"/>
                </a:gs>
                <a:gs pos="100000">
                  <a:schemeClr val="accent6">
                    <a:lumMod val="40000"/>
                    <a:lumOff val="60000"/>
                    <a:alpha val="52000"/>
                  </a:schemeClr>
                </a:gs>
                <a:gs pos="100000">
                  <a:schemeClr val="accent6">
                    <a:lumMod val="20000"/>
                    <a:lumOff val="80000"/>
                    <a:alpha val="43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图片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55976" y="4012989"/>
              <a:ext cx="1560576" cy="1149561"/>
            </a:xfrm>
            <a:prstGeom prst="rect">
              <a:avLst/>
            </a:prstGeom>
          </p:spPr>
        </p:pic>
        <p:sp>
          <p:nvSpPr>
            <p:cNvPr id="9" name="矩形 8"/>
            <p:cNvSpPr/>
            <p:nvPr/>
          </p:nvSpPr>
          <p:spPr>
            <a:xfrm>
              <a:off x="5971659" y="3914892"/>
              <a:ext cx="2778733" cy="1338828"/>
            </a:xfrm>
            <a:prstGeom prst="rect">
              <a:avLst/>
            </a:prstGeom>
          </p:spPr>
          <p:txBody>
            <a:bodyPr wrap="square">
              <a:spAutoFit/>
            </a:bodyPr>
            <a:lstStyle/>
            <a:p>
              <a:pPr>
                <a:lnSpc>
                  <a:spcPct val="150000"/>
                </a:lnSpc>
              </a:pPr>
              <a:r>
                <a:rPr lang="en-GB" altLang="zh-CN" sz="900" i="1" dirty="0">
                  <a:solidFill>
                    <a:schemeClr val="bg1">
                      <a:lumMod val="50000"/>
                    </a:schemeClr>
                  </a:solidFill>
                  <a:latin typeface="微软雅黑" pitchFamily="34" charset="-122"/>
                  <a:ea typeface="微软雅黑" pitchFamily="34" charset="-122"/>
                </a:rPr>
                <a:t>1962</a:t>
              </a:r>
              <a:r>
                <a:rPr lang="zh-CN" altLang="zh-CN" sz="900" i="1" dirty="0">
                  <a:solidFill>
                    <a:schemeClr val="bg1">
                      <a:lumMod val="50000"/>
                    </a:schemeClr>
                  </a:solidFill>
                  <a:latin typeface="微软雅黑" pitchFamily="34" charset="-122"/>
                  <a:ea typeface="微软雅黑" pitchFamily="34" charset="-122"/>
                </a:rPr>
                <a:t>年，</a:t>
              </a:r>
              <a:r>
                <a:rPr lang="en-US" altLang="zh-CN" sz="900" i="1" dirty="0">
                  <a:solidFill>
                    <a:schemeClr val="bg1">
                      <a:lumMod val="50000"/>
                    </a:schemeClr>
                  </a:solidFill>
                  <a:latin typeface="微软雅黑" pitchFamily="34" charset="-122"/>
                  <a:ea typeface="微软雅黑" pitchFamily="34" charset="-122"/>
                </a:rPr>
                <a:t>DS</a:t>
              </a:r>
              <a:r>
                <a:rPr lang="zh-CN" altLang="en-US" sz="900" i="1" dirty="0">
                  <a:solidFill>
                    <a:schemeClr val="bg1">
                      <a:lumMod val="50000"/>
                    </a:schemeClr>
                  </a:solidFill>
                  <a:latin typeface="微软雅黑" pitchFamily="34" charset="-122"/>
                  <a:ea typeface="微软雅黑" pitchFamily="34" charset="-122"/>
                </a:rPr>
                <a:t>与</a:t>
              </a:r>
              <a:r>
                <a:rPr lang="zh-CN" altLang="zh-CN" sz="900" i="1" dirty="0">
                  <a:solidFill>
                    <a:schemeClr val="bg1">
                      <a:lumMod val="50000"/>
                    </a:schemeClr>
                  </a:solidFill>
                  <a:latin typeface="微软雅黑" pitchFamily="34" charset="-122"/>
                  <a:ea typeface="微软雅黑" pitchFamily="34" charset="-122"/>
                </a:rPr>
                <a:t>戴高乐将军</a:t>
              </a:r>
              <a:r>
                <a:rPr lang="zh-CN" altLang="en-US" sz="900" i="1" dirty="0">
                  <a:solidFill>
                    <a:schemeClr val="bg1">
                      <a:lumMod val="50000"/>
                    </a:schemeClr>
                  </a:solidFill>
                  <a:latin typeface="微软雅黑" pitchFamily="34" charset="-122"/>
                  <a:ea typeface="微软雅黑" pitchFamily="34" charset="-122"/>
                </a:rPr>
                <a:t>曾有一段</a:t>
              </a:r>
              <a:r>
                <a:rPr lang="zh-CN" altLang="zh-CN" sz="900" i="1" dirty="0">
                  <a:solidFill>
                    <a:schemeClr val="bg1">
                      <a:lumMod val="50000"/>
                    </a:schemeClr>
                  </a:solidFill>
                  <a:latin typeface="微软雅黑" pitchFamily="34" charset="-122"/>
                  <a:ea typeface="微软雅黑" pitchFamily="34" charset="-122"/>
                </a:rPr>
                <a:t>传奇史，在一次刺杀行动中</a:t>
              </a:r>
              <a:r>
                <a:rPr lang="en-GB" altLang="zh-CN" sz="900" i="1" dirty="0">
                  <a:solidFill>
                    <a:schemeClr val="bg1">
                      <a:lumMod val="50000"/>
                    </a:schemeClr>
                  </a:solidFill>
                  <a:latin typeface="微软雅黑" pitchFamily="34" charset="-122"/>
                  <a:ea typeface="微软雅黑" pitchFamily="34" charset="-122"/>
                </a:rPr>
                <a:t>DS</a:t>
              </a:r>
              <a:r>
                <a:rPr lang="zh-CN" altLang="zh-CN" sz="900" i="1" dirty="0">
                  <a:solidFill>
                    <a:schemeClr val="bg1">
                      <a:lumMod val="50000"/>
                    </a:schemeClr>
                  </a:solidFill>
                  <a:latin typeface="微软雅黑" pitchFamily="34" charset="-122"/>
                  <a:ea typeface="微软雅黑" pitchFamily="34" charset="-122"/>
                </a:rPr>
                <a:t>拯救了戴高乐总统的生命。遇袭后，虽然车身布满了子弹，两个轮胎也已爆裂，但是</a:t>
              </a:r>
              <a:r>
                <a:rPr lang="en-GB" altLang="zh-CN" sz="900" i="1" dirty="0">
                  <a:solidFill>
                    <a:schemeClr val="bg1">
                      <a:lumMod val="50000"/>
                    </a:schemeClr>
                  </a:solidFill>
                  <a:latin typeface="微软雅黑" pitchFamily="34" charset="-122"/>
                  <a:ea typeface="微软雅黑" pitchFamily="34" charset="-122"/>
                </a:rPr>
                <a:t>DS</a:t>
              </a:r>
              <a:r>
                <a:rPr lang="zh-CN" altLang="zh-CN" sz="900" i="1" dirty="0">
                  <a:solidFill>
                    <a:schemeClr val="bg1">
                      <a:lumMod val="50000"/>
                    </a:schemeClr>
                  </a:solidFill>
                  <a:latin typeface="微软雅黑" pitchFamily="34" charset="-122"/>
                  <a:ea typeface="微软雅黑" pitchFamily="34" charset="-122"/>
                </a:rPr>
                <a:t>凭借超前奇特的悬挂系统仍然继续前行，终于把戴高乐总统安全地送到了目的地。</a:t>
              </a:r>
              <a:r>
                <a:rPr lang="zh-CN" altLang="en-US" sz="900" i="1" dirty="0">
                  <a:solidFill>
                    <a:schemeClr val="bg1">
                      <a:lumMod val="50000"/>
                    </a:schemeClr>
                  </a:solidFill>
                  <a:latin typeface="微软雅黑" pitchFamily="34" charset="-122"/>
                  <a:ea typeface="微软雅黑" pitchFamily="34" charset="-122"/>
                </a:rPr>
                <a:t>此后，</a:t>
              </a:r>
              <a:r>
                <a:rPr lang="en-GB" altLang="zh-CN" sz="900" i="1" dirty="0">
                  <a:solidFill>
                    <a:schemeClr val="bg1">
                      <a:lumMod val="50000"/>
                    </a:schemeClr>
                  </a:solidFill>
                  <a:latin typeface="微软雅黑" pitchFamily="34" charset="-122"/>
                  <a:ea typeface="微软雅黑" pitchFamily="34" charset="-122"/>
                </a:rPr>
                <a:t>DS</a:t>
              </a:r>
              <a:r>
                <a:rPr lang="zh-CN" altLang="zh-CN" sz="900" i="1" dirty="0">
                  <a:solidFill>
                    <a:schemeClr val="bg1">
                      <a:lumMod val="50000"/>
                    </a:schemeClr>
                  </a:solidFill>
                  <a:latin typeface="微软雅黑" pitchFamily="34" charset="-122"/>
                  <a:ea typeface="微软雅黑" pitchFamily="34" charset="-122"/>
                </a:rPr>
                <a:t>一直是政府高级官员的正式座驾</a:t>
              </a:r>
              <a:r>
                <a:rPr lang="zh-CN" altLang="en-US" sz="900" i="1" dirty="0">
                  <a:solidFill>
                    <a:schemeClr val="bg1">
                      <a:lumMod val="50000"/>
                    </a:schemeClr>
                  </a:solidFill>
                  <a:latin typeface="微软雅黑" pitchFamily="34" charset="-122"/>
                  <a:ea typeface="微软雅黑" pitchFamily="34" charset="-122"/>
                </a:rPr>
                <a:t>。</a:t>
              </a:r>
              <a:endParaRPr lang="zh-CN" altLang="zh-CN" sz="900" i="1" dirty="0">
                <a:solidFill>
                  <a:schemeClr val="bg1">
                    <a:lumMod val="50000"/>
                  </a:schemeClr>
                </a:solidFill>
                <a:latin typeface="微软雅黑" pitchFamily="34" charset="-122"/>
                <a:ea typeface="微软雅黑" pitchFamily="34" charset="-122"/>
              </a:endParaRPr>
            </a:p>
          </p:txBody>
        </p:sp>
      </p:grpSp>
      <p:grpSp>
        <p:nvGrpSpPr>
          <p:cNvPr id="25" name="组合 24"/>
          <p:cNvGrpSpPr/>
          <p:nvPr/>
        </p:nvGrpSpPr>
        <p:grpSpPr>
          <a:xfrm>
            <a:off x="628560" y="1633365"/>
            <a:ext cx="4935486" cy="2008242"/>
            <a:chOff x="628557" y="1803302"/>
            <a:chExt cx="4935486" cy="2008243"/>
          </a:xfrm>
        </p:grpSpPr>
        <p:sp>
          <p:nvSpPr>
            <p:cNvPr id="11" name="矩形 10"/>
            <p:cNvSpPr/>
            <p:nvPr/>
          </p:nvSpPr>
          <p:spPr>
            <a:xfrm>
              <a:off x="628557" y="1803302"/>
              <a:ext cx="4935486" cy="1918294"/>
            </a:xfrm>
            <a:prstGeom prst="rect">
              <a:avLst/>
            </a:prstGeom>
            <a:gradFill>
              <a:gsLst>
                <a:gs pos="0">
                  <a:schemeClr val="bg1"/>
                </a:gs>
                <a:gs pos="100000">
                  <a:schemeClr val="accent6">
                    <a:lumMod val="40000"/>
                    <a:lumOff val="60000"/>
                    <a:alpha val="52000"/>
                  </a:schemeClr>
                </a:gs>
                <a:gs pos="100000">
                  <a:schemeClr val="accent6">
                    <a:lumMod val="20000"/>
                    <a:lumOff val="80000"/>
                    <a:alpha val="43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p:nvSpPr>
          <p:spPr>
            <a:xfrm>
              <a:off x="651415" y="1803302"/>
              <a:ext cx="4912627" cy="2008243"/>
            </a:xfrm>
            <a:prstGeom prst="rect">
              <a:avLst/>
            </a:prstGeom>
          </p:spPr>
          <p:txBody>
            <a:bodyPr wrap="square">
              <a:spAutoFit/>
            </a:bodyPr>
            <a:lstStyle/>
            <a:p>
              <a:pPr>
                <a:lnSpc>
                  <a:spcPct val="150000"/>
                </a:lnSpc>
              </a:pPr>
              <a:r>
                <a:rPr lang="en-GB" altLang="zh-CN" sz="1100" dirty="0">
                  <a:solidFill>
                    <a:schemeClr val="tx1">
                      <a:lumMod val="75000"/>
                      <a:lumOff val="25000"/>
                    </a:schemeClr>
                  </a:solidFill>
                  <a:latin typeface="微软雅黑" pitchFamily="34" charset="-122"/>
                  <a:ea typeface="微软雅黑" pitchFamily="34" charset="-122"/>
                </a:rPr>
                <a:t>DS</a:t>
              </a:r>
              <a:r>
                <a:rPr lang="zh-CN" altLang="en-US" sz="1100" dirty="0">
                  <a:solidFill>
                    <a:schemeClr val="tx1">
                      <a:lumMod val="75000"/>
                      <a:lumOff val="25000"/>
                    </a:schemeClr>
                  </a:solidFill>
                  <a:latin typeface="微软雅黑" pitchFamily="34" charset="-122"/>
                  <a:ea typeface="微软雅黑" pitchFamily="34" charset="-122"/>
                </a:rPr>
                <a:t>起源于</a:t>
              </a:r>
              <a:r>
                <a:rPr lang="en-US" altLang="zh-CN" sz="1100" dirty="0">
                  <a:solidFill>
                    <a:schemeClr val="tx1">
                      <a:lumMod val="75000"/>
                      <a:lumOff val="25000"/>
                    </a:schemeClr>
                  </a:solidFill>
                  <a:latin typeface="微软雅黑" pitchFamily="34" charset="-122"/>
                  <a:ea typeface="微软雅黑" pitchFamily="34" charset="-122"/>
                </a:rPr>
                <a:t>1955</a:t>
              </a:r>
              <a:r>
                <a:rPr lang="zh-CN" altLang="en-US" sz="1100" dirty="0">
                  <a:solidFill>
                    <a:schemeClr val="tx1">
                      <a:lumMod val="75000"/>
                      <a:lumOff val="25000"/>
                    </a:schemeClr>
                  </a:solidFill>
                  <a:latin typeface="微软雅黑" pitchFamily="34" charset="-122"/>
                  <a:ea typeface="微软雅黑" pitchFamily="34" charset="-122"/>
                </a:rPr>
                <a:t>年，</a:t>
              </a:r>
              <a:r>
                <a:rPr lang="en-US" altLang="zh-CN" sz="1100" dirty="0">
                  <a:solidFill>
                    <a:schemeClr val="tx1">
                      <a:lumMod val="75000"/>
                      <a:lumOff val="25000"/>
                    </a:schemeClr>
                  </a:solidFill>
                  <a:latin typeface="微软雅黑" pitchFamily="34" charset="-122"/>
                  <a:ea typeface="微软雅黑" pitchFamily="34" charset="-122"/>
                </a:rPr>
                <a:t>DS</a:t>
              </a:r>
              <a:r>
                <a:rPr lang="zh-CN" altLang="en-US" sz="1100" dirty="0">
                  <a:solidFill>
                    <a:schemeClr val="tx1">
                      <a:lumMod val="75000"/>
                      <a:lumOff val="25000"/>
                    </a:schemeClr>
                  </a:solidFill>
                  <a:latin typeface="微软雅黑" pitchFamily="34" charset="-122"/>
                  <a:ea typeface="微软雅黑" pitchFamily="34" charset="-122"/>
                </a:rPr>
                <a:t>的法文全称为</a:t>
              </a:r>
              <a:r>
                <a:rPr lang="en-US" altLang="zh-CN" sz="1100" dirty="0" err="1">
                  <a:solidFill>
                    <a:schemeClr val="tx1">
                      <a:lumMod val="75000"/>
                      <a:lumOff val="25000"/>
                    </a:schemeClr>
                  </a:solidFill>
                  <a:latin typeface="微软雅黑" pitchFamily="34" charset="-122"/>
                  <a:ea typeface="微软雅黑" pitchFamily="34" charset="-122"/>
                </a:rPr>
                <a:t>Déesse</a:t>
              </a:r>
              <a:r>
                <a:rPr lang="zh-CN" altLang="en-US" sz="1100" dirty="0">
                  <a:solidFill>
                    <a:schemeClr val="tx1">
                      <a:lumMod val="75000"/>
                      <a:lumOff val="25000"/>
                    </a:schemeClr>
                  </a:solidFill>
                  <a:latin typeface="微软雅黑" pitchFamily="34" charset="-122"/>
                  <a:ea typeface="微软雅黑" pitchFamily="34" charset="-122"/>
                </a:rPr>
                <a:t>，即法语女神。</a:t>
              </a:r>
              <a:r>
                <a:rPr lang="zh-CN" altLang="zh-CN" sz="1100" dirty="0">
                  <a:solidFill>
                    <a:schemeClr val="tx1">
                      <a:lumMod val="75000"/>
                      <a:lumOff val="25000"/>
                    </a:schemeClr>
                  </a:solidFill>
                  <a:latin typeface="微软雅黑" pitchFamily="34" charset="-122"/>
                  <a:ea typeface="微软雅黑" pitchFamily="34" charset="-122"/>
                </a:rPr>
                <a:t>作为</a:t>
              </a:r>
              <a:r>
                <a:rPr lang="zh-CN" altLang="en-US" sz="1100" dirty="0">
                  <a:solidFill>
                    <a:schemeClr val="tx1">
                      <a:lumMod val="75000"/>
                      <a:lumOff val="25000"/>
                    </a:schemeClr>
                  </a:solidFill>
                  <a:latin typeface="微软雅黑" pitchFamily="34" charset="-122"/>
                  <a:ea typeface="微软雅黑" pitchFamily="34" charset="-122"/>
                </a:rPr>
                <a:t>法国汽车工业顶级设计豪华品牌</a:t>
              </a:r>
              <a:r>
                <a:rPr lang="zh-CN" altLang="zh-CN" sz="1100" dirty="0">
                  <a:solidFill>
                    <a:schemeClr val="tx1">
                      <a:lumMod val="75000"/>
                      <a:lumOff val="25000"/>
                    </a:schemeClr>
                  </a:solidFill>
                  <a:latin typeface="微软雅黑" pitchFamily="34" charset="-122"/>
                  <a:ea typeface="微软雅黑" pitchFamily="34" charset="-122"/>
                </a:rPr>
                <a:t>，</a:t>
              </a:r>
              <a:r>
                <a:rPr lang="en-GB" altLang="zh-CN" sz="1100" dirty="0">
                  <a:solidFill>
                    <a:schemeClr val="tx1">
                      <a:lumMod val="75000"/>
                      <a:lumOff val="25000"/>
                    </a:schemeClr>
                  </a:solidFill>
                  <a:latin typeface="微软雅黑" pitchFamily="34" charset="-122"/>
                  <a:ea typeface="微软雅黑" pitchFamily="34" charset="-122"/>
                </a:rPr>
                <a:t>DS</a:t>
              </a:r>
              <a:r>
                <a:rPr lang="zh-CN" altLang="zh-CN" sz="1100" dirty="0">
                  <a:solidFill>
                    <a:schemeClr val="tx1">
                      <a:lumMod val="75000"/>
                      <a:lumOff val="25000"/>
                    </a:schemeClr>
                  </a:solidFill>
                  <a:latin typeface="微软雅黑" pitchFamily="34" charset="-122"/>
                  <a:ea typeface="微软雅黑" pitchFamily="34" charset="-122"/>
                </a:rPr>
                <a:t>表达了对汽车未来的全新思考方式，受到历史传承的启迪，继承了创意和高贵的基因</a:t>
              </a:r>
              <a:r>
                <a:rPr lang="zh-CN" altLang="en-US" sz="1100" dirty="0">
                  <a:solidFill>
                    <a:schemeClr val="tx1">
                      <a:lumMod val="75000"/>
                      <a:lumOff val="25000"/>
                    </a:schemeClr>
                  </a:solidFill>
                  <a:latin typeface="微软雅黑" pitchFamily="34" charset="-122"/>
                  <a:ea typeface="微软雅黑" pitchFamily="34" charset="-122"/>
                </a:rPr>
                <a:t>，</a:t>
              </a:r>
              <a:r>
                <a:rPr lang="zh-CN" altLang="zh-CN" sz="1100" dirty="0">
                  <a:solidFill>
                    <a:schemeClr val="tx1">
                      <a:lumMod val="75000"/>
                      <a:lumOff val="25000"/>
                    </a:schemeClr>
                  </a:solidFill>
                  <a:latin typeface="微软雅黑" pitchFamily="34" charset="-122"/>
                  <a:ea typeface="微软雅黑" pitchFamily="34" charset="-122"/>
                </a:rPr>
                <a:t>体现了创意、严谨和大胆。</a:t>
              </a:r>
              <a:endParaRPr lang="en-US" altLang="zh-CN" sz="1100" dirty="0">
                <a:solidFill>
                  <a:schemeClr val="tx1">
                    <a:lumMod val="75000"/>
                    <a:lumOff val="25000"/>
                  </a:schemeClr>
                </a:solidFill>
                <a:latin typeface="微软雅黑" pitchFamily="34" charset="-122"/>
                <a:ea typeface="微软雅黑" pitchFamily="34" charset="-122"/>
              </a:endParaRPr>
            </a:p>
            <a:p>
              <a:pPr>
                <a:lnSpc>
                  <a:spcPct val="150000"/>
                </a:lnSpc>
              </a:pPr>
              <a:r>
                <a:rPr lang="en-US" altLang="zh-CN" sz="1000" dirty="0">
                  <a:solidFill>
                    <a:schemeClr val="tx1">
                      <a:lumMod val="75000"/>
                      <a:lumOff val="25000"/>
                    </a:schemeClr>
                  </a:solidFill>
                  <a:latin typeface="微软雅黑" pitchFamily="34" charset="-122"/>
                  <a:ea typeface="微软雅黑" pitchFamily="34" charset="-122"/>
                </a:rPr>
                <a:t>DS is a Paris-based automotive brand which aims to embody French luxury automotive industry. Inspired by the best in French automotive know-how, DS perpetuates  the values of innovation and distinction inherited from the legendary 1955 DS. The DS range is designed for customers seeking personal expression.</a:t>
              </a:r>
            </a:p>
          </p:txBody>
        </p:sp>
      </p:grpSp>
      <p:grpSp>
        <p:nvGrpSpPr>
          <p:cNvPr id="20" name="组合 19"/>
          <p:cNvGrpSpPr/>
          <p:nvPr/>
        </p:nvGrpSpPr>
        <p:grpSpPr>
          <a:xfrm>
            <a:off x="6102244" y="1352552"/>
            <a:ext cx="2239462" cy="1692987"/>
            <a:chOff x="6108564" y="1258845"/>
            <a:chExt cx="2239462" cy="1692987"/>
          </a:xfrm>
        </p:grpSpPr>
        <p:sp>
          <p:nvSpPr>
            <p:cNvPr id="17" name="椭圆 16"/>
            <p:cNvSpPr/>
            <p:nvPr/>
          </p:nvSpPr>
          <p:spPr>
            <a:xfrm>
              <a:off x="6702717" y="1863261"/>
              <a:ext cx="1061662" cy="1061662"/>
            </a:xfrm>
            <a:prstGeom prst="ellipse">
              <a:avLst/>
            </a:prstGeom>
            <a:noFill/>
            <a:ln w="63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6108564" y="2217469"/>
              <a:ext cx="734363" cy="734363"/>
            </a:xfrm>
            <a:prstGeom prst="ellipse">
              <a:avLst/>
            </a:prstGeom>
            <a:gradFill>
              <a:gsLst>
                <a:gs pos="0">
                  <a:schemeClr val="accent6">
                    <a:lumMod val="40000"/>
                    <a:lumOff val="60000"/>
                  </a:schemeClr>
                </a:gs>
                <a:gs pos="100000">
                  <a:schemeClr val="accent6">
                    <a:lumMod val="40000"/>
                    <a:lumOff val="60000"/>
                    <a:alpha val="52000"/>
                  </a:schemeClr>
                </a:gs>
                <a:gs pos="45000">
                  <a:schemeClr val="accent6">
                    <a:lumMod val="40000"/>
                    <a:lumOff val="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a:solidFill>
                    <a:schemeClr val="tx1">
                      <a:lumMod val="75000"/>
                      <a:lumOff val="25000"/>
                    </a:schemeClr>
                  </a:solidFill>
                  <a:latin typeface="微软雅黑" pitchFamily="34" charset="-122"/>
                  <a:ea typeface="微软雅黑" pitchFamily="34" charset="-122"/>
                </a:rPr>
                <a:t>精湛工艺</a:t>
              </a:r>
              <a:endParaRPr lang="en-US" altLang="zh-CN" sz="1100" b="1" dirty="0">
                <a:solidFill>
                  <a:schemeClr val="tx1">
                    <a:lumMod val="75000"/>
                    <a:lumOff val="25000"/>
                  </a:schemeClr>
                </a:solidFill>
                <a:latin typeface="微软雅黑" pitchFamily="34" charset="-122"/>
                <a:ea typeface="微软雅黑" pitchFamily="34" charset="-122"/>
              </a:endParaRPr>
            </a:p>
          </p:txBody>
        </p:sp>
        <p:sp>
          <p:nvSpPr>
            <p:cNvPr id="21" name="椭圆 20"/>
            <p:cNvSpPr/>
            <p:nvPr/>
          </p:nvSpPr>
          <p:spPr>
            <a:xfrm>
              <a:off x="7665470" y="2217469"/>
              <a:ext cx="682556" cy="682556"/>
            </a:xfrm>
            <a:prstGeom prst="ellipse">
              <a:avLst/>
            </a:prstGeom>
            <a:gradFill>
              <a:gsLst>
                <a:gs pos="0">
                  <a:schemeClr val="accent6">
                    <a:lumMod val="40000"/>
                    <a:lumOff val="60000"/>
                  </a:schemeClr>
                </a:gs>
                <a:gs pos="100000">
                  <a:schemeClr val="accent6">
                    <a:lumMod val="40000"/>
                    <a:lumOff val="60000"/>
                    <a:alpha val="52000"/>
                  </a:schemeClr>
                </a:gs>
                <a:gs pos="45000">
                  <a:schemeClr val="accent6">
                    <a:lumMod val="40000"/>
                    <a:lumOff val="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b="1" dirty="0">
                  <a:solidFill>
                    <a:schemeClr val="tx1">
                      <a:lumMod val="75000"/>
                      <a:lumOff val="25000"/>
                    </a:schemeClr>
                  </a:solidFill>
                  <a:latin typeface="微软雅黑" pitchFamily="34" charset="-122"/>
                  <a:ea typeface="微软雅黑" pitchFamily="34" charset="-122"/>
                </a:rPr>
                <a:t>适衡科技</a:t>
              </a:r>
              <a:endParaRPr lang="en-US" altLang="zh-CN" sz="1100" b="1" dirty="0">
                <a:solidFill>
                  <a:schemeClr val="tx1">
                    <a:lumMod val="75000"/>
                    <a:lumOff val="25000"/>
                  </a:schemeClr>
                </a:solidFill>
                <a:latin typeface="微软雅黑" pitchFamily="34" charset="-122"/>
                <a:ea typeface="微软雅黑" pitchFamily="34" charset="-122"/>
              </a:endParaRPr>
            </a:p>
          </p:txBody>
        </p:sp>
        <p:sp>
          <p:nvSpPr>
            <p:cNvPr id="24" name="椭圆 23"/>
            <p:cNvSpPr/>
            <p:nvPr/>
          </p:nvSpPr>
          <p:spPr>
            <a:xfrm>
              <a:off x="6891124" y="1258845"/>
              <a:ext cx="684847" cy="684847"/>
            </a:xfrm>
            <a:prstGeom prst="ellipse">
              <a:avLst/>
            </a:prstGeom>
            <a:gradFill>
              <a:gsLst>
                <a:gs pos="0">
                  <a:schemeClr val="accent6">
                    <a:lumMod val="40000"/>
                    <a:lumOff val="60000"/>
                  </a:schemeClr>
                </a:gs>
                <a:gs pos="100000">
                  <a:schemeClr val="accent6">
                    <a:lumMod val="40000"/>
                    <a:lumOff val="60000"/>
                    <a:alpha val="52000"/>
                  </a:schemeClr>
                </a:gs>
                <a:gs pos="45000">
                  <a:schemeClr val="accent6">
                    <a:lumMod val="40000"/>
                    <a:lumOff val="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zh-CN" sz="1100" b="1" dirty="0">
                  <a:solidFill>
                    <a:schemeClr val="tx1">
                      <a:lumMod val="75000"/>
                      <a:lumOff val="25000"/>
                    </a:schemeClr>
                  </a:solidFill>
                  <a:latin typeface="微软雅黑" pitchFamily="34" charset="-122"/>
                  <a:ea typeface="微软雅黑" pitchFamily="34" charset="-122"/>
                </a:rPr>
                <a:t>原创设计</a:t>
              </a:r>
              <a:endParaRPr lang="en-US" altLang="zh-CN" sz="1100" b="1" dirty="0">
                <a:solidFill>
                  <a:schemeClr val="tx1">
                    <a:lumMod val="75000"/>
                    <a:lumOff val="25000"/>
                  </a:schemeClr>
                </a:solidFill>
                <a:latin typeface="微软雅黑" pitchFamily="34" charset="-122"/>
                <a:ea typeface="微软雅黑" pitchFamily="34" charset="-122"/>
              </a:endParaRPr>
            </a:p>
          </p:txBody>
        </p:sp>
        <p:sp>
          <p:nvSpPr>
            <p:cNvPr id="19" name="TextBox 18"/>
            <p:cNvSpPr txBox="1"/>
            <p:nvPr/>
          </p:nvSpPr>
          <p:spPr>
            <a:xfrm>
              <a:off x="6746523" y="2163259"/>
              <a:ext cx="934055" cy="461665"/>
            </a:xfrm>
            <a:prstGeom prst="rect">
              <a:avLst/>
            </a:prstGeom>
            <a:noFill/>
          </p:spPr>
          <p:txBody>
            <a:bodyPr wrap="square" rtlCol="0">
              <a:spAutoFit/>
            </a:bodyPr>
            <a:lstStyle/>
            <a:p>
              <a:pPr algn="ctr"/>
              <a:r>
                <a:rPr lang="en-US" altLang="zh-CN" sz="1200" b="1" dirty="0">
                  <a:latin typeface="微软雅黑" pitchFamily="34" charset="-122"/>
                  <a:ea typeface="微软雅黑" pitchFamily="34" charset="-122"/>
                </a:rPr>
                <a:t>DS</a:t>
              </a:r>
              <a:r>
                <a:rPr lang="zh-CN" altLang="en-US" sz="1200" b="1" dirty="0">
                  <a:latin typeface="微软雅黑" pitchFamily="34" charset="-122"/>
                  <a:ea typeface="微软雅黑" pitchFamily="34" charset="-122"/>
                </a:rPr>
                <a:t>品牌</a:t>
              </a:r>
              <a:r>
                <a:rPr lang="en-US" altLang="zh-CN" sz="1200" b="1" dirty="0">
                  <a:latin typeface="微软雅黑" pitchFamily="34" charset="-122"/>
                  <a:ea typeface="微软雅黑" pitchFamily="34" charset="-122"/>
                </a:rPr>
                <a:t>NDA</a:t>
              </a:r>
              <a:endParaRPr lang="zh-CN" altLang="en-US" sz="1200" b="1" dirty="0">
                <a:latin typeface="微软雅黑" pitchFamily="34" charset="-122"/>
                <a:ea typeface="微软雅黑" pitchFamily="34" charset="-122"/>
              </a:endParaRPr>
            </a:p>
          </p:txBody>
        </p:sp>
      </p:grpSp>
    </p:spTree>
    <p:extLst>
      <p:ext uri="{BB962C8B-B14F-4D97-AF65-F5344CB8AC3E}">
        <p14:creationId xmlns:p14="http://schemas.microsoft.com/office/powerpoint/2010/main" val="3655035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5"/>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697132" y="625254"/>
            <a:ext cx="2074668" cy="615531"/>
          </a:xfrm>
          <a:prstGeom prst="rect">
            <a:avLst/>
          </a:prstGeom>
          <a:noFill/>
        </p:spPr>
        <p:txBody>
          <a:bodyPr wrap="square" lIns="91419" tIns="45709" rIns="91419" bIns="45709" rtlCol="0">
            <a:spAutoFit/>
          </a:bodyPr>
          <a:lstStyle/>
          <a:p>
            <a:r>
              <a:rPr lang="zh-CN" altLang="en-US" sz="2000" b="1" dirty="0">
                <a:solidFill>
                  <a:srgbClr val="C00000"/>
                </a:solidFill>
                <a:latin typeface="微软雅黑" pitchFamily="34" charset="-122"/>
                <a:ea typeface="微软雅黑" pitchFamily="34" charset="-122"/>
              </a:rPr>
              <a:t>品牌定位</a:t>
            </a:r>
            <a:endParaRPr lang="en-US" altLang="zh-CN" sz="2000" b="1" dirty="0">
              <a:solidFill>
                <a:srgbClr val="C00000"/>
              </a:solidFill>
              <a:latin typeface="微软雅黑" pitchFamily="34" charset="-122"/>
              <a:ea typeface="微软雅黑" pitchFamily="34" charset="-122"/>
            </a:endParaRPr>
          </a:p>
          <a:p>
            <a:r>
              <a:rPr lang="en-US" altLang="zh-CN" sz="1400" b="1" dirty="0">
                <a:solidFill>
                  <a:srgbClr val="C00000"/>
                </a:solidFill>
                <a:latin typeface="微软雅黑" pitchFamily="34" charset="-122"/>
                <a:ea typeface="微软雅黑" pitchFamily="34" charset="-122"/>
                <a:cs typeface="Arial" pitchFamily="34" charset="0"/>
              </a:rPr>
              <a:t>Brand Positioning</a:t>
            </a:r>
            <a:endParaRPr lang="en-US" altLang="zh-CN" sz="1400" b="1" dirty="0">
              <a:solidFill>
                <a:srgbClr val="C00000"/>
              </a:solidFill>
              <a:latin typeface="微软雅黑" pitchFamily="34" charset="-122"/>
              <a:ea typeface="微软雅黑" pitchFamily="34" charset="-122"/>
              <a:cs typeface="Arial" pitchFamily="34" charset="0"/>
              <a:sym typeface="黑体" pitchFamily="49" charset="-122"/>
            </a:endParaRPr>
          </a:p>
        </p:txBody>
      </p:sp>
      <p:sp>
        <p:nvSpPr>
          <p:cNvPr id="6"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sp>
        <p:nvSpPr>
          <p:cNvPr id="10" name="灯片编号占位符 1"/>
          <p:cNvSpPr>
            <a:spLocks noGrp="1"/>
          </p:cNvSpPr>
          <p:nvPr>
            <p:ph type="sldNum" sz="quarter" idx="10"/>
          </p:nvPr>
        </p:nvSpPr>
        <p:spPr>
          <a:xfrm>
            <a:off x="8651507" y="5343123"/>
            <a:ext cx="36004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fld id="{A6C54AB4-FD64-4F86-9BF0-7210CD94CCAC}" type="slidenum">
              <a:rPr lang="zh-CN" altLang="en-US" sz="1000">
                <a:solidFill>
                  <a:srgbClr val="7F7F7F"/>
                </a:solidFill>
                <a:latin typeface="微软雅黑" pitchFamily="34" charset="-122"/>
                <a:ea typeface="微软雅黑" pitchFamily="34" charset="-122"/>
              </a:rPr>
              <a:pPr algn="ctr"/>
              <a:t>16</a:t>
            </a:fld>
            <a:endParaRPr lang="zh-CN" altLang="en-US" sz="1000" dirty="0">
              <a:solidFill>
                <a:srgbClr val="7F7F7F"/>
              </a:solidFill>
              <a:latin typeface="微软雅黑" pitchFamily="34" charset="-122"/>
              <a:ea typeface="微软雅黑" pitchFamily="34" charset="-122"/>
            </a:endParaRPr>
          </a:p>
        </p:txBody>
      </p:sp>
      <p:pic>
        <p:nvPicPr>
          <p:cNvPr id="25" name="图片 1"/>
          <p:cNvPicPr>
            <a:picLocks noChangeAspect="1"/>
          </p:cNvPicPr>
          <p:nvPr/>
        </p:nvPicPr>
        <p:blipFill rotWithShape="1">
          <a:blip r:embed="rId3" cstate="print">
            <a:extLst>
              <a:ext uri="{28A0092B-C50C-407E-A947-70E740481C1C}">
                <a14:useLocalDpi xmlns:a14="http://schemas.microsoft.com/office/drawing/2010/main" val="0"/>
              </a:ext>
            </a:extLst>
          </a:blip>
          <a:srcRect b="10625"/>
          <a:stretch/>
        </p:blipFill>
        <p:spPr bwMode="auto">
          <a:xfrm>
            <a:off x="651415" y="1708372"/>
            <a:ext cx="8241065" cy="3692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矩形 3"/>
          <p:cNvSpPr>
            <a:spLocks noChangeArrowheads="1"/>
          </p:cNvSpPr>
          <p:nvPr/>
        </p:nvSpPr>
        <p:spPr bwMode="auto">
          <a:xfrm>
            <a:off x="2770663" y="1325588"/>
            <a:ext cx="3888432" cy="307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9" tIns="45709" rIns="91419" bIns="45709">
            <a:spAutoFit/>
          </a:bodyPr>
          <a:lstStyle/>
          <a:p>
            <a:pPr marL="0" lvl="1" algn="ctr" eaLnBrk="0" hangingPunct="0">
              <a:buClr>
                <a:srgbClr val="000000"/>
              </a:buClr>
            </a:pPr>
            <a:r>
              <a:rPr lang="zh-CN" altLang="en-US" sz="1400" b="1" dirty="0">
                <a:solidFill>
                  <a:srgbClr val="C00000"/>
                </a:solidFill>
                <a:latin typeface="微软雅黑" pitchFamily="34" charset="-122"/>
                <a:ea typeface="微软雅黑" pitchFamily="34" charset="-122"/>
                <a:sym typeface="MS PGothic" pitchFamily="34" charset="-128"/>
              </a:rPr>
              <a:t>有品位的豪华车 </a:t>
            </a:r>
            <a:r>
              <a:rPr lang="en-US" altLang="zh-CN" sz="1400" b="1" dirty="0">
                <a:solidFill>
                  <a:srgbClr val="C00000"/>
                </a:solidFill>
                <a:latin typeface="微软雅黑" pitchFamily="34" charset="-122"/>
                <a:ea typeface="微软雅黑" pitchFamily="34" charset="-122"/>
                <a:sym typeface="MS PGothic" pitchFamily="34" charset="-128"/>
              </a:rPr>
              <a:t>High-Grade Premium Car </a:t>
            </a:r>
          </a:p>
        </p:txBody>
      </p:sp>
    </p:spTree>
    <p:extLst>
      <p:ext uri="{BB962C8B-B14F-4D97-AF65-F5344CB8AC3E}">
        <p14:creationId xmlns:p14="http://schemas.microsoft.com/office/powerpoint/2010/main" val="301015481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5"/>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697132" y="625254"/>
            <a:ext cx="2074668" cy="615531"/>
          </a:xfrm>
          <a:prstGeom prst="rect">
            <a:avLst/>
          </a:prstGeom>
          <a:noFill/>
        </p:spPr>
        <p:txBody>
          <a:bodyPr wrap="square" lIns="91419" tIns="45709" rIns="91419" bIns="45709" rtlCol="0">
            <a:spAutoFit/>
          </a:bodyPr>
          <a:lstStyle/>
          <a:p>
            <a:r>
              <a:rPr lang="zh-CN" altLang="en-US" sz="2000" b="1" dirty="0">
                <a:solidFill>
                  <a:srgbClr val="C00000"/>
                </a:solidFill>
                <a:latin typeface="微软雅黑" pitchFamily="34" charset="-122"/>
                <a:ea typeface="微软雅黑" pitchFamily="34" charset="-122"/>
              </a:rPr>
              <a:t>车型展示</a:t>
            </a:r>
            <a:endParaRPr lang="en-US" altLang="zh-CN" sz="2000" b="1" dirty="0">
              <a:solidFill>
                <a:srgbClr val="C00000"/>
              </a:solidFill>
              <a:latin typeface="微软雅黑" pitchFamily="34" charset="-122"/>
              <a:ea typeface="微软雅黑" pitchFamily="34" charset="-122"/>
            </a:endParaRPr>
          </a:p>
          <a:p>
            <a:r>
              <a:rPr lang="en-US" altLang="zh-CN" sz="1400" b="1" dirty="0">
                <a:solidFill>
                  <a:srgbClr val="C00000"/>
                </a:solidFill>
                <a:latin typeface="微软雅黑" pitchFamily="34" charset="-122"/>
                <a:ea typeface="微软雅黑" pitchFamily="34" charset="-122"/>
                <a:cs typeface="Arial" pitchFamily="34" charset="0"/>
              </a:rPr>
              <a:t>Main Product </a:t>
            </a:r>
            <a:endParaRPr lang="en-US" altLang="zh-CN" sz="1400" b="1" dirty="0">
              <a:solidFill>
                <a:srgbClr val="C00000"/>
              </a:solidFill>
              <a:latin typeface="微软雅黑" pitchFamily="34" charset="-122"/>
              <a:ea typeface="微软雅黑" pitchFamily="34" charset="-122"/>
              <a:cs typeface="Arial" pitchFamily="34" charset="0"/>
              <a:sym typeface="黑体" pitchFamily="49" charset="-122"/>
            </a:endParaRPr>
          </a:p>
        </p:txBody>
      </p:sp>
      <p:sp>
        <p:nvSpPr>
          <p:cNvPr id="6"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sp>
        <p:nvSpPr>
          <p:cNvPr id="10" name="灯片编号占位符 1"/>
          <p:cNvSpPr>
            <a:spLocks noGrp="1"/>
          </p:cNvSpPr>
          <p:nvPr>
            <p:ph type="sldNum" sz="quarter" idx="10"/>
          </p:nvPr>
        </p:nvSpPr>
        <p:spPr>
          <a:xfrm>
            <a:off x="8651507" y="5343123"/>
            <a:ext cx="36004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fld id="{A6C54AB4-FD64-4F86-9BF0-7210CD94CCAC}" type="slidenum">
              <a:rPr lang="zh-CN" altLang="en-US" sz="1000">
                <a:solidFill>
                  <a:srgbClr val="7F7F7F"/>
                </a:solidFill>
                <a:latin typeface="微软雅黑" pitchFamily="34" charset="-122"/>
                <a:ea typeface="微软雅黑" pitchFamily="34" charset="-122"/>
              </a:rPr>
              <a:pPr algn="ctr"/>
              <a:t>17</a:t>
            </a:fld>
            <a:endParaRPr lang="zh-CN" altLang="en-US" sz="1000" dirty="0">
              <a:solidFill>
                <a:srgbClr val="7F7F7F"/>
              </a:solidFill>
              <a:latin typeface="微软雅黑" pitchFamily="34" charset="-122"/>
              <a:ea typeface="微软雅黑" pitchFamily="34" charset="-122"/>
            </a:endParaRPr>
          </a:p>
        </p:txBody>
      </p:sp>
      <p:pic>
        <p:nvPicPr>
          <p:cNvPr id="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10285"/>
          <a:stretch/>
        </p:blipFill>
        <p:spPr bwMode="auto">
          <a:xfrm>
            <a:off x="3" y="1394203"/>
            <a:ext cx="9143999" cy="4320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 name="组合 8"/>
          <p:cNvGrpSpPr/>
          <p:nvPr/>
        </p:nvGrpSpPr>
        <p:grpSpPr>
          <a:xfrm>
            <a:off x="-2256" y="1394204"/>
            <a:ext cx="2741196" cy="4320796"/>
            <a:chOff x="-19050" y="1327471"/>
            <a:chExt cx="2940050" cy="5220403"/>
          </a:xfrm>
        </p:grpSpPr>
        <p:sp>
          <p:nvSpPr>
            <p:cNvPr id="11" name="矩形 10"/>
            <p:cNvSpPr/>
            <p:nvPr/>
          </p:nvSpPr>
          <p:spPr bwMode="auto">
            <a:xfrm>
              <a:off x="-19050" y="1327471"/>
              <a:ext cx="2786001" cy="5220403"/>
            </a:xfrm>
            <a:prstGeom prst="rect">
              <a:avLst/>
            </a:prstGeom>
            <a:gradFill>
              <a:gsLst>
                <a:gs pos="0">
                  <a:schemeClr val="tx1">
                    <a:lumMod val="65000"/>
                    <a:lumOff val="35000"/>
                    <a:alpha val="65000"/>
                  </a:schemeClr>
                </a:gs>
                <a:gs pos="100000">
                  <a:schemeClr val="accent6">
                    <a:lumMod val="40000"/>
                    <a:lumOff val="60000"/>
                    <a:alpha val="52000"/>
                  </a:schemeClr>
                </a:gs>
                <a:gs pos="100000">
                  <a:schemeClr val="accent6">
                    <a:lumMod val="20000"/>
                    <a:lumOff val="80000"/>
                    <a:alpha val="43000"/>
                  </a:schemeClr>
                </a:gs>
              </a:gsLst>
              <a:lin ang="2700000" scaled="1"/>
            </a:gradFill>
            <a:ln w="9525" cap="flat" cmpd="sng" algn="ctr">
              <a:noFill/>
              <a:prstDash val="solid"/>
              <a:round/>
              <a:headEnd type="none" w="med" len="med"/>
              <a:tailEnd type="none" w="med" len="med"/>
            </a:ln>
            <a:effectLst/>
            <a:extLst/>
          </p:spPr>
          <p:txBody>
            <a:bodyPr/>
            <a:lstStyle/>
            <a:p>
              <a:pPr eaLnBrk="0" hangingPunct="0">
                <a:defRPr/>
              </a:pPr>
              <a:endParaRPr lang="zh-CN" altLang="en-US" sz="2000">
                <a:solidFill>
                  <a:srgbClr val="000000"/>
                </a:solidFill>
                <a:latin typeface="CorpoS" pitchFamily="2" charset="0"/>
              </a:endParaRPr>
            </a:p>
          </p:txBody>
        </p:sp>
        <p:sp>
          <p:nvSpPr>
            <p:cNvPr id="12" name="矩形 11"/>
            <p:cNvSpPr/>
            <p:nvPr/>
          </p:nvSpPr>
          <p:spPr>
            <a:xfrm>
              <a:off x="268289" y="1958975"/>
              <a:ext cx="2652711" cy="6524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zh-CN" altLang="en-US" b="1" dirty="0">
                  <a:solidFill>
                    <a:schemeClr val="bg1"/>
                  </a:solidFill>
                  <a:latin typeface="微软雅黑" pitchFamily="34" charset="-122"/>
                  <a:ea typeface="微软雅黑" pitchFamily="34" charset="-122"/>
                </a:rPr>
                <a:t>豪华跨界</a:t>
              </a:r>
              <a:r>
                <a:rPr lang="zh-CN" altLang="en-US" b="1" dirty="0" smtClean="0">
                  <a:solidFill>
                    <a:schemeClr val="bg1"/>
                  </a:solidFill>
                  <a:latin typeface="微软雅黑" pitchFamily="34" charset="-122"/>
                  <a:ea typeface="微软雅黑" pitchFamily="34" charset="-122"/>
                </a:rPr>
                <a:t>车新</a:t>
              </a:r>
              <a:r>
                <a:rPr lang="en-US" altLang="zh-CN" b="1" dirty="0" smtClean="0">
                  <a:solidFill>
                    <a:schemeClr val="bg1"/>
                  </a:solidFill>
                  <a:latin typeface="微软雅黑" pitchFamily="34" charset="-122"/>
                  <a:ea typeface="微软雅黑" pitchFamily="34" charset="-122"/>
                </a:rPr>
                <a:t>DS </a:t>
              </a:r>
              <a:r>
                <a:rPr lang="en-US" altLang="zh-CN" b="1" dirty="0">
                  <a:solidFill>
                    <a:schemeClr val="bg1"/>
                  </a:solidFill>
                  <a:latin typeface="微软雅黑" pitchFamily="34" charset="-122"/>
                  <a:ea typeface="微软雅黑" pitchFamily="34" charset="-122"/>
                </a:rPr>
                <a:t>5</a:t>
              </a:r>
            </a:p>
          </p:txBody>
        </p:sp>
        <p:sp>
          <p:nvSpPr>
            <p:cNvPr id="13" name="TextBox 5"/>
            <p:cNvSpPr txBox="1">
              <a:spLocks noChangeArrowheads="1"/>
            </p:cNvSpPr>
            <p:nvPr/>
          </p:nvSpPr>
          <p:spPr bwMode="auto">
            <a:xfrm>
              <a:off x="901700" y="3540125"/>
              <a:ext cx="1111250" cy="409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r>
                <a:rPr lang="zh-CN" altLang="en-US" sz="1600">
                  <a:solidFill>
                    <a:srgbClr val="FFFFFF"/>
                  </a:solidFill>
                  <a:latin typeface="微软雅黑" pitchFamily="34" charset="-122"/>
                  <a:ea typeface="微软雅黑" pitchFamily="34" charset="-122"/>
                </a:rPr>
                <a:t>精湛工艺</a:t>
              </a:r>
              <a:endParaRPr lang="en-US" altLang="zh-CN" sz="1600">
                <a:solidFill>
                  <a:srgbClr val="FFFFFF"/>
                </a:solidFill>
                <a:latin typeface="微软雅黑" pitchFamily="34" charset="-122"/>
                <a:ea typeface="微软雅黑" pitchFamily="34" charset="-122"/>
              </a:endParaRPr>
            </a:p>
          </p:txBody>
        </p:sp>
        <p:sp>
          <p:nvSpPr>
            <p:cNvPr id="14" name="TextBox 6"/>
            <p:cNvSpPr txBox="1">
              <a:spLocks noChangeArrowheads="1"/>
            </p:cNvSpPr>
            <p:nvPr/>
          </p:nvSpPr>
          <p:spPr bwMode="auto">
            <a:xfrm>
              <a:off x="901700" y="4125913"/>
              <a:ext cx="1192213" cy="409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r>
                <a:rPr lang="zh-CN" altLang="en-US" sz="1600">
                  <a:solidFill>
                    <a:srgbClr val="FFFFFF"/>
                  </a:solidFill>
                  <a:latin typeface="微软雅黑" pitchFamily="34" charset="-122"/>
                  <a:ea typeface="微软雅黑" pitchFamily="34" charset="-122"/>
                </a:rPr>
                <a:t>人性科技</a:t>
              </a:r>
              <a:endParaRPr lang="en-US" altLang="zh-CN" sz="1600">
                <a:solidFill>
                  <a:srgbClr val="FFFFFF"/>
                </a:solidFill>
                <a:latin typeface="微软雅黑" pitchFamily="34" charset="-122"/>
                <a:ea typeface="微软雅黑" pitchFamily="34" charset="-122"/>
              </a:endParaRPr>
            </a:p>
          </p:txBody>
        </p:sp>
        <p:sp>
          <p:nvSpPr>
            <p:cNvPr id="15" name="TextBox 4"/>
            <p:cNvSpPr txBox="1">
              <a:spLocks noChangeArrowheads="1"/>
            </p:cNvSpPr>
            <p:nvPr/>
          </p:nvSpPr>
          <p:spPr bwMode="auto">
            <a:xfrm>
              <a:off x="901700" y="2952749"/>
              <a:ext cx="1584325" cy="409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r>
                <a:rPr lang="zh-CN" altLang="en-US" sz="1600">
                  <a:solidFill>
                    <a:srgbClr val="FFFFFF"/>
                  </a:solidFill>
                  <a:latin typeface="微软雅黑" pitchFamily="34" charset="-122"/>
                  <a:ea typeface="微软雅黑" pitchFamily="34" charset="-122"/>
                </a:rPr>
                <a:t>原创设计</a:t>
              </a:r>
              <a:endParaRPr lang="en-US" altLang="zh-CN" sz="1600">
                <a:solidFill>
                  <a:srgbClr val="FFFFFF"/>
                </a:solidFill>
                <a:latin typeface="微软雅黑" pitchFamily="34" charset="-122"/>
                <a:ea typeface="微软雅黑" pitchFamily="34" charset="-122"/>
              </a:endParaRPr>
            </a:p>
          </p:txBody>
        </p:sp>
        <p:sp>
          <p:nvSpPr>
            <p:cNvPr id="16" name="同心圆 15"/>
            <p:cNvSpPr/>
            <p:nvPr/>
          </p:nvSpPr>
          <p:spPr>
            <a:xfrm>
              <a:off x="93664" y="2432050"/>
              <a:ext cx="360362" cy="360363"/>
            </a:xfrm>
            <a:prstGeom prst="donut">
              <a:avLst/>
            </a:prstGeom>
            <a:solidFill>
              <a:schemeClr val="bg1"/>
            </a:solidFill>
            <a:ln w="19050">
              <a:solidFill>
                <a:srgbClr val="FFFFFF"/>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zh-CN" altLang="en-US" sz="1600">
                <a:solidFill>
                  <a:schemeClr val="bg1"/>
                </a:solidFill>
                <a:latin typeface="微软雅黑" pitchFamily="34" charset="-122"/>
                <a:ea typeface="微软雅黑" pitchFamily="34" charset="-122"/>
              </a:endParaRPr>
            </a:p>
          </p:txBody>
        </p:sp>
        <p:cxnSp>
          <p:nvCxnSpPr>
            <p:cNvPr id="17" name="直接连接符 16"/>
            <p:cNvCxnSpPr>
              <a:stCxn id="16" idx="6"/>
            </p:cNvCxnSpPr>
            <p:nvPr/>
          </p:nvCxnSpPr>
          <p:spPr>
            <a:xfrm flipV="1">
              <a:off x="454025" y="2611439"/>
              <a:ext cx="2312926" cy="793"/>
            </a:xfrm>
            <a:prstGeom prst="line">
              <a:avLst/>
            </a:prstGeom>
            <a:ln w="19050">
              <a:solidFill>
                <a:srgbClr val="FFFFFF"/>
              </a:solidFill>
              <a:prstDash val="soli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8" name="TextBox 7"/>
            <p:cNvSpPr txBox="1">
              <a:spLocks noChangeArrowheads="1"/>
            </p:cNvSpPr>
            <p:nvPr/>
          </p:nvSpPr>
          <p:spPr bwMode="auto">
            <a:xfrm>
              <a:off x="901700" y="4713288"/>
              <a:ext cx="1357313" cy="409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r>
                <a:rPr lang="zh-CN" altLang="en-US" sz="1600">
                  <a:solidFill>
                    <a:srgbClr val="FFFFFF"/>
                  </a:solidFill>
                  <a:latin typeface="微软雅黑" pitchFamily="34" charset="-122"/>
                  <a:ea typeface="微软雅黑" pitchFamily="34" charset="-122"/>
                </a:rPr>
                <a:t>高端品质</a:t>
              </a:r>
            </a:p>
          </p:txBody>
        </p:sp>
      </p:grpSp>
    </p:spTree>
    <p:extLst>
      <p:ext uri="{BB962C8B-B14F-4D97-AF65-F5344CB8AC3E}">
        <p14:creationId xmlns:p14="http://schemas.microsoft.com/office/powerpoint/2010/main" val="185770355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D:\6. 影音资料\3.其他图图片\DS 车型图\DS 5LS\杂志报纸完稿\jpg\212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986"/>
          <a:stretch/>
        </p:blipFill>
        <p:spPr bwMode="auto">
          <a:xfrm>
            <a:off x="3" y="1479480"/>
            <a:ext cx="9121707" cy="4258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697132" y="97193"/>
            <a:ext cx="2074668" cy="615525"/>
          </a:xfrm>
          <a:prstGeom prst="rect">
            <a:avLst/>
          </a:prstGeom>
          <a:noFill/>
        </p:spPr>
        <p:txBody>
          <a:bodyPr wrap="square" lIns="91412" tIns="45706" rIns="91412" bIns="45706" rtlCol="0">
            <a:spAutoFit/>
          </a:bodyPr>
          <a:lstStyle/>
          <a:p>
            <a:pPr defTabSz="810310" fontAlgn="base">
              <a:spcBef>
                <a:spcPct val="0"/>
              </a:spcBef>
              <a:spcAft>
                <a:spcPct val="0"/>
              </a:spcAft>
            </a:pPr>
            <a:r>
              <a:rPr lang="zh-CN" altLang="en-US" sz="2000" b="1" dirty="0">
                <a:solidFill>
                  <a:srgbClr val="C00000"/>
                </a:solidFill>
                <a:latin typeface="微软雅黑" pitchFamily="34" charset="-122"/>
                <a:sym typeface="Arial Bold" charset="0"/>
              </a:rPr>
              <a:t>车型展示</a:t>
            </a:r>
            <a:endParaRPr lang="en-US" altLang="zh-CN" sz="2000" b="1" dirty="0">
              <a:solidFill>
                <a:srgbClr val="C00000"/>
              </a:solidFill>
              <a:latin typeface="微软雅黑" pitchFamily="34" charset="-122"/>
              <a:sym typeface="Arial Bold" charset="0"/>
            </a:endParaRPr>
          </a:p>
          <a:p>
            <a:pPr defTabSz="810310" fontAlgn="base">
              <a:spcBef>
                <a:spcPct val="0"/>
              </a:spcBef>
              <a:spcAft>
                <a:spcPct val="0"/>
              </a:spcAft>
            </a:pPr>
            <a:r>
              <a:rPr lang="en-US" altLang="zh-CN" sz="1400" b="1" dirty="0">
                <a:solidFill>
                  <a:srgbClr val="C00000"/>
                </a:solidFill>
                <a:latin typeface="微软雅黑" pitchFamily="34" charset="-122"/>
                <a:cs typeface="Arial" pitchFamily="34" charset="0"/>
                <a:sym typeface="Arial Bold" charset="0"/>
              </a:rPr>
              <a:t>Main Product </a:t>
            </a:r>
            <a:endParaRPr lang="en-US" altLang="zh-CN" sz="1400" b="1" dirty="0">
              <a:solidFill>
                <a:srgbClr val="C00000"/>
              </a:solidFill>
              <a:latin typeface="微软雅黑" pitchFamily="34" charset="-122"/>
              <a:cs typeface="Arial" pitchFamily="34" charset="0"/>
              <a:sym typeface="黑体" pitchFamily="49" charset="-122"/>
            </a:endParaRPr>
          </a:p>
        </p:txBody>
      </p:sp>
      <p:sp>
        <p:nvSpPr>
          <p:cNvPr id="5" name="Rectangle 272"/>
          <p:cNvSpPr>
            <a:spLocks noChangeArrowheads="1"/>
          </p:cNvSpPr>
          <p:nvPr/>
        </p:nvSpPr>
        <p:spPr bwMode="auto">
          <a:xfrm>
            <a:off x="628560" y="123221"/>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1" tIns="47877" rIns="95751" bIns="47877" anchor="ctr"/>
          <a:lstStyle/>
          <a:p>
            <a:pPr defTabSz="810310" eaLnBrk="0" fontAlgn="base" hangingPunct="0">
              <a:spcBef>
                <a:spcPct val="0"/>
              </a:spcBef>
              <a:spcAft>
                <a:spcPct val="0"/>
              </a:spcAft>
            </a:pPr>
            <a:endParaRPr lang="zh-CN" altLang="zh-CN" sz="1100">
              <a:solidFill>
                <a:srgbClr val="FFFFFF">
                  <a:lumMod val="50000"/>
                </a:srgbClr>
              </a:solidFill>
              <a:sym typeface="宋体" pitchFamily="2" charset="-122"/>
            </a:endParaRPr>
          </a:p>
        </p:txBody>
      </p:sp>
      <p:sp>
        <p:nvSpPr>
          <p:cNvPr id="6" name="矩形 5"/>
          <p:cNvSpPr/>
          <p:nvPr/>
        </p:nvSpPr>
        <p:spPr bwMode="auto">
          <a:xfrm>
            <a:off x="5724130" y="1456660"/>
            <a:ext cx="3419872" cy="4258340"/>
          </a:xfrm>
          <a:prstGeom prst="rect">
            <a:avLst/>
          </a:prstGeom>
          <a:solidFill>
            <a:schemeClr val="bg1">
              <a:lumMod val="85000"/>
              <a:alpha val="51000"/>
            </a:schemeClr>
          </a:solidFill>
          <a:ln w="9525" cap="flat" cmpd="sng" algn="ctr">
            <a:noFill/>
            <a:prstDash val="solid"/>
            <a:round/>
            <a:headEnd type="none" w="med" len="med"/>
            <a:tailEnd type="none" w="med" len="med"/>
          </a:ln>
          <a:effectLst/>
          <a:extLst/>
        </p:spPr>
        <p:txBody>
          <a:bodyPr lIns="91412" tIns="45706" rIns="91412" bIns="45706"/>
          <a:lstStyle/>
          <a:p>
            <a:pPr defTabSz="810310" eaLnBrk="0" fontAlgn="base" hangingPunct="0">
              <a:spcBef>
                <a:spcPct val="0"/>
              </a:spcBef>
              <a:spcAft>
                <a:spcPct val="0"/>
              </a:spcAft>
              <a:defRPr/>
            </a:pPr>
            <a:endParaRPr lang="zh-CN" altLang="en-US" sz="2000">
              <a:solidFill>
                <a:srgbClr val="000000"/>
              </a:solidFill>
              <a:latin typeface="CorpoS" pitchFamily="2" charset="0"/>
              <a:sym typeface="Arial Bold" charset="0"/>
            </a:endParaRPr>
          </a:p>
        </p:txBody>
      </p:sp>
      <p:grpSp>
        <p:nvGrpSpPr>
          <p:cNvPr id="9" name="组合 8"/>
          <p:cNvGrpSpPr/>
          <p:nvPr/>
        </p:nvGrpSpPr>
        <p:grpSpPr>
          <a:xfrm>
            <a:off x="5807079" y="1701800"/>
            <a:ext cx="3373437" cy="1401981"/>
            <a:chOff x="5807075" y="1701800"/>
            <a:chExt cx="3373437" cy="1401981"/>
          </a:xfrm>
        </p:grpSpPr>
        <p:sp>
          <p:nvSpPr>
            <p:cNvPr id="7" name="矩形 1"/>
            <p:cNvSpPr>
              <a:spLocks noChangeArrowheads="1"/>
            </p:cNvSpPr>
            <p:nvPr/>
          </p:nvSpPr>
          <p:spPr bwMode="auto">
            <a:xfrm>
              <a:off x="5807075" y="1701800"/>
              <a:ext cx="180049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810310" eaLnBrk="0" fontAlgn="base" hangingPunct="0">
                <a:spcBef>
                  <a:spcPct val="0"/>
                </a:spcBef>
                <a:spcAft>
                  <a:spcPct val="0"/>
                </a:spcAft>
              </a:pPr>
              <a:r>
                <a:rPr lang="en-GB" altLang="zh-CN" sz="1100" b="1">
                  <a:solidFill>
                    <a:srgbClr val="AD0040"/>
                  </a:solidFill>
                  <a:latin typeface="微软雅黑" pitchFamily="34" charset="-122"/>
                  <a:sym typeface="Arial Bold" charset="0"/>
                </a:rPr>
                <a:t>DS 5LS</a:t>
              </a:r>
              <a:endParaRPr lang="en-US" altLang="zh-CN" sz="1100" b="1">
                <a:solidFill>
                  <a:srgbClr val="AD0040"/>
                </a:solidFill>
                <a:latin typeface="微软雅黑" pitchFamily="34" charset="-122"/>
                <a:sym typeface="Arial Bold" charset="0"/>
              </a:endParaRPr>
            </a:p>
            <a:p>
              <a:pPr defTabSz="810310" eaLnBrk="0" fontAlgn="base" hangingPunct="0">
                <a:spcBef>
                  <a:spcPct val="0"/>
                </a:spcBef>
                <a:spcAft>
                  <a:spcPct val="0"/>
                </a:spcAft>
              </a:pPr>
              <a:r>
                <a:rPr lang="zh-CN" altLang="zh-CN" sz="1100" b="1">
                  <a:solidFill>
                    <a:srgbClr val="AD0040"/>
                  </a:solidFill>
                  <a:latin typeface="微软雅黑" pitchFamily="34" charset="-122"/>
                  <a:sym typeface="Arial Bold" charset="0"/>
                </a:rPr>
                <a:t>首款</a:t>
              </a:r>
              <a:r>
                <a:rPr lang="en-GB" altLang="zh-CN" sz="1100" b="1">
                  <a:solidFill>
                    <a:srgbClr val="AD0040"/>
                  </a:solidFill>
                  <a:latin typeface="微软雅黑" pitchFamily="34" charset="-122"/>
                  <a:sym typeface="Arial Bold" charset="0"/>
                </a:rPr>
                <a:t>5D</a:t>
              </a:r>
              <a:r>
                <a:rPr lang="zh-CN" altLang="zh-CN" sz="1100" b="1">
                  <a:solidFill>
                    <a:srgbClr val="AD0040"/>
                  </a:solidFill>
                  <a:latin typeface="微软雅黑" pitchFamily="34" charset="-122"/>
                  <a:sym typeface="Arial Bold" charset="0"/>
                </a:rPr>
                <a:t>全感官</a:t>
              </a:r>
              <a:r>
                <a:rPr lang="en-GB" altLang="zh-CN" sz="1100" b="1">
                  <a:solidFill>
                    <a:srgbClr val="AD0040"/>
                  </a:solidFill>
                  <a:latin typeface="微软雅黑" pitchFamily="34" charset="-122"/>
                  <a:sym typeface="Arial Bold" charset="0"/>
                </a:rPr>
                <a:t>A</a:t>
              </a:r>
              <a:r>
                <a:rPr lang="zh-CN" altLang="zh-CN" sz="1100" b="1">
                  <a:solidFill>
                    <a:srgbClr val="AD0040"/>
                  </a:solidFill>
                  <a:latin typeface="微软雅黑" pitchFamily="34" charset="-122"/>
                  <a:sym typeface="Arial Bold" charset="0"/>
                </a:rPr>
                <a:t>级豪华车 </a:t>
              </a:r>
              <a:endParaRPr lang="zh-CN" altLang="zh-CN" sz="1100">
                <a:solidFill>
                  <a:srgbClr val="AD0040"/>
                </a:solidFill>
                <a:latin typeface="微软雅黑" pitchFamily="34" charset="-122"/>
                <a:sym typeface="Arial Bold" charset="0"/>
              </a:endParaRPr>
            </a:p>
          </p:txBody>
        </p:sp>
        <p:sp>
          <p:nvSpPr>
            <p:cNvPr id="8" name="矩形 7"/>
            <p:cNvSpPr/>
            <p:nvPr/>
          </p:nvSpPr>
          <p:spPr>
            <a:xfrm>
              <a:off x="5807075" y="2457450"/>
              <a:ext cx="3373437" cy="646331"/>
            </a:xfrm>
            <a:prstGeom prst="rect">
              <a:avLst/>
            </a:prstGeom>
          </p:spPr>
          <p:txBody>
            <a:bodyPr>
              <a:spAutoFit/>
            </a:bodyPr>
            <a:lstStyle/>
            <a:p>
              <a:pPr defTabSz="810310" eaLnBrk="0" fontAlgn="base" hangingPunct="0">
                <a:lnSpc>
                  <a:spcPct val="150000"/>
                </a:lnSpc>
                <a:spcBef>
                  <a:spcPct val="0"/>
                </a:spcBef>
                <a:spcAft>
                  <a:spcPct val="0"/>
                </a:spcAft>
                <a:defRPr/>
              </a:pPr>
              <a:r>
                <a:rPr lang="zh-CN" altLang="en-US" sz="1200" dirty="0">
                  <a:solidFill>
                    <a:srgbClr val="FFFFFF">
                      <a:lumMod val="50000"/>
                    </a:srgbClr>
                  </a:solidFill>
                  <a:latin typeface="微软雅黑" pitchFamily="34" charset="-122"/>
                  <a:sym typeface="Arial Bold" charset="0"/>
                </a:rPr>
                <a:t>继承</a:t>
              </a:r>
              <a:r>
                <a:rPr lang="en-GB" altLang="zh-CN" sz="1200" dirty="0">
                  <a:solidFill>
                    <a:srgbClr val="FFFFFF">
                      <a:lumMod val="50000"/>
                    </a:srgbClr>
                  </a:solidFill>
                  <a:latin typeface="微软雅黑" pitchFamily="34" charset="-122"/>
                  <a:sym typeface="Arial Bold" charset="0"/>
                </a:rPr>
                <a:t>DS</a:t>
              </a:r>
              <a:r>
                <a:rPr lang="zh-CN" altLang="zh-CN" sz="1200" dirty="0">
                  <a:solidFill>
                    <a:srgbClr val="FFFFFF">
                      <a:lumMod val="50000"/>
                    </a:srgbClr>
                  </a:solidFill>
                  <a:latin typeface="微软雅黑" pitchFamily="34" charset="-122"/>
                  <a:sym typeface="Arial Bold" charset="0"/>
                </a:rPr>
                <a:t>品牌原创设计、高效动力、精工细作、未来科技和绿色健康</a:t>
              </a:r>
              <a:r>
                <a:rPr lang="en-GB" altLang="zh-CN" sz="1200" dirty="0">
                  <a:solidFill>
                    <a:srgbClr val="FFFFFF">
                      <a:lumMod val="50000"/>
                    </a:srgbClr>
                  </a:solidFill>
                  <a:latin typeface="微软雅黑" pitchFamily="34" charset="-122"/>
                  <a:sym typeface="Arial Bold" charset="0"/>
                </a:rPr>
                <a:t>5</a:t>
              </a:r>
              <a:r>
                <a:rPr lang="zh-CN" altLang="zh-CN" sz="1200" dirty="0">
                  <a:solidFill>
                    <a:srgbClr val="FFFFFF">
                      <a:lumMod val="50000"/>
                    </a:srgbClr>
                  </a:solidFill>
                  <a:latin typeface="微软雅黑" pitchFamily="34" charset="-122"/>
                  <a:sym typeface="Arial Bold" charset="0"/>
                </a:rPr>
                <a:t>大</a:t>
              </a:r>
              <a:r>
                <a:rPr lang="en-GB" altLang="zh-CN" sz="1200" dirty="0">
                  <a:solidFill>
                    <a:srgbClr val="FFFFFF">
                      <a:lumMod val="50000"/>
                    </a:srgbClr>
                  </a:solidFill>
                  <a:latin typeface="微软雅黑" pitchFamily="34" charset="-122"/>
                  <a:sym typeface="Arial Bold" charset="0"/>
                </a:rPr>
                <a:t>DNA</a:t>
              </a:r>
              <a:endParaRPr lang="zh-CN" altLang="en-US" sz="1200" dirty="0">
                <a:solidFill>
                  <a:srgbClr val="FFFFFF">
                    <a:lumMod val="50000"/>
                  </a:srgbClr>
                </a:solidFill>
                <a:latin typeface="微软雅黑" pitchFamily="34" charset="-122"/>
                <a:sym typeface="Arial Bold" charset="0"/>
              </a:endParaRPr>
            </a:p>
          </p:txBody>
        </p:sp>
      </p:grpSp>
    </p:spTree>
    <p:extLst>
      <p:ext uri="{BB962C8B-B14F-4D97-AF65-F5344CB8AC3E}">
        <p14:creationId xmlns:p14="http://schemas.microsoft.com/office/powerpoint/2010/main" val="161507637"/>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11074" r="4883" b="25683"/>
          <a:stretch/>
        </p:blipFill>
        <p:spPr bwMode="auto">
          <a:xfrm>
            <a:off x="-439" y="1658678"/>
            <a:ext cx="9143775" cy="4056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图片 5"/>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697132" y="625254"/>
            <a:ext cx="2074668" cy="615531"/>
          </a:xfrm>
          <a:prstGeom prst="rect">
            <a:avLst/>
          </a:prstGeom>
          <a:noFill/>
        </p:spPr>
        <p:txBody>
          <a:bodyPr wrap="square" lIns="91419" tIns="45709" rIns="91419" bIns="45709" rtlCol="0">
            <a:spAutoFit/>
          </a:bodyPr>
          <a:lstStyle/>
          <a:p>
            <a:r>
              <a:rPr lang="zh-CN" altLang="en-US" sz="2000" b="1" dirty="0">
                <a:solidFill>
                  <a:srgbClr val="C00000"/>
                </a:solidFill>
                <a:latin typeface="微软雅黑" pitchFamily="34" charset="-122"/>
                <a:ea typeface="微软雅黑" pitchFamily="34" charset="-122"/>
              </a:rPr>
              <a:t>车型展示</a:t>
            </a:r>
            <a:endParaRPr lang="en-US" altLang="zh-CN" sz="2000" b="1" dirty="0">
              <a:solidFill>
                <a:srgbClr val="C00000"/>
              </a:solidFill>
              <a:latin typeface="微软雅黑" pitchFamily="34" charset="-122"/>
              <a:ea typeface="微软雅黑" pitchFamily="34" charset="-122"/>
            </a:endParaRPr>
          </a:p>
          <a:p>
            <a:r>
              <a:rPr lang="en-US" altLang="zh-CN" sz="1400" b="1" dirty="0">
                <a:solidFill>
                  <a:srgbClr val="C00000"/>
                </a:solidFill>
                <a:latin typeface="微软雅黑" pitchFamily="34" charset="-122"/>
                <a:ea typeface="微软雅黑" pitchFamily="34" charset="-122"/>
                <a:cs typeface="Arial" pitchFamily="34" charset="0"/>
              </a:rPr>
              <a:t>Main Product </a:t>
            </a:r>
            <a:endParaRPr lang="en-US" altLang="zh-CN" sz="1400" b="1" dirty="0">
              <a:solidFill>
                <a:srgbClr val="C00000"/>
              </a:solidFill>
              <a:latin typeface="微软雅黑" pitchFamily="34" charset="-122"/>
              <a:ea typeface="微软雅黑" pitchFamily="34" charset="-122"/>
              <a:cs typeface="Arial" pitchFamily="34" charset="0"/>
              <a:sym typeface="黑体" pitchFamily="49" charset="-122"/>
            </a:endParaRPr>
          </a:p>
        </p:txBody>
      </p:sp>
      <p:sp>
        <p:nvSpPr>
          <p:cNvPr id="4"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grpSp>
        <p:nvGrpSpPr>
          <p:cNvPr id="9" name="组合 8"/>
          <p:cNvGrpSpPr/>
          <p:nvPr/>
        </p:nvGrpSpPr>
        <p:grpSpPr>
          <a:xfrm>
            <a:off x="5687349" y="4647604"/>
            <a:ext cx="3455987" cy="1062038"/>
            <a:chOff x="5687349" y="4647604"/>
            <a:chExt cx="3455987" cy="1062038"/>
          </a:xfrm>
        </p:grpSpPr>
        <p:sp>
          <p:nvSpPr>
            <p:cNvPr id="6" name="矩形 5"/>
            <p:cNvSpPr/>
            <p:nvPr/>
          </p:nvSpPr>
          <p:spPr bwMode="auto">
            <a:xfrm>
              <a:off x="5687349" y="4647604"/>
              <a:ext cx="3455987" cy="1062038"/>
            </a:xfrm>
            <a:prstGeom prst="rect">
              <a:avLst/>
            </a:prstGeom>
            <a:gradFill>
              <a:gsLst>
                <a:gs pos="0">
                  <a:schemeClr val="accent6">
                    <a:lumMod val="40000"/>
                    <a:lumOff val="60000"/>
                    <a:alpha val="61000"/>
                  </a:schemeClr>
                </a:gs>
                <a:gs pos="100000">
                  <a:schemeClr val="accent6">
                    <a:lumMod val="40000"/>
                    <a:lumOff val="60000"/>
                    <a:alpha val="52000"/>
                  </a:schemeClr>
                </a:gs>
                <a:gs pos="100000">
                  <a:schemeClr val="accent6">
                    <a:lumMod val="20000"/>
                    <a:lumOff val="80000"/>
                    <a:alpha val="43000"/>
                  </a:schemeClr>
                </a:gs>
              </a:gsLst>
              <a:lin ang="2700000" scaled="1"/>
            </a:gradFill>
            <a:ln w="9525" cap="flat" cmpd="sng" algn="ctr">
              <a:noFill/>
              <a:prstDash val="solid"/>
              <a:round/>
              <a:headEnd type="none" w="med" len="med"/>
              <a:tailEnd type="none" w="med" len="med"/>
            </a:ln>
            <a:effectLst/>
            <a:extLst/>
          </p:spPr>
          <p:txBody>
            <a:bodyPr/>
            <a:lstStyle/>
            <a:p>
              <a:pPr eaLnBrk="0" hangingPunct="0">
                <a:defRPr/>
              </a:pPr>
              <a:endParaRPr lang="zh-CN" altLang="en-US" sz="2000">
                <a:solidFill>
                  <a:srgbClr val="000000"/>
                </a:solidFill>
                <a:latin typeface="CorpoS" pitchFamily="2" charset="0"/>
              </a:endParaRPr>
            </a:p>
          </p:txBody>
        </p:sp>
        <p:sp>
          <p:nvSpPr>
            <p:cNvPr id="7" name="矩形 6"/>
            <p:cNvSpPr>
              <a:spLocks noChangeArrowheads="1"/>
            </p:cNvSpPr>
            <p:nvPr/>
          </p:nvSpPr>
          <p:spPr bwMode="auto">
            <a:xfrm>
              <a:off x="5796136" y="4667151"/>
              <a:ext cx="3135312"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en-US" altLang="zh-CN" b="1" dirty="0" smtClean="0">
                  <a:solidFill>
                    <a:srgbClr val="FFFFFF"/>
                  </a:solidFill>
                  <a:latin typeface="微软雅黑" pitchFamily="34" charset="-122"/>
                  <a:ea typeface="微软雅黑" pitchFamily="34" charset="-122"/>
                  <a:cs typeface="宋体" pitchFamily="2" charset="-122"/>
                </a:rPr>
                <a:t>DS 6 </a:t>
              </a:r>
              <a:r>
                <a:rPr lang="zh-CN" altLang="en-US" b="1" dirty="0" smtClean="0">
                  <a:solidFill>
                    <a:srgbClr val="FFFFFF"/>
                  </a:solidFill>
                  <a:latin typeface="微软雅黑" pitchFamily="34" charset="-122"/>
                  <a:ea typeface="微软雅黑" pitchFamily="34" charset="-122"/>
                  <a:cs typeface="宋体" pitchFamily="2" charset="-122"/>
                </a:rPr>
                <a:t>都市智能豪华</a:t>
              </a:r>
              <a:r>
                <a:rPr lang="en-US" altLang="zh-CN" b="1" dirty="0" smtClean="0">
                  <a:solidFill>
                    <a:srgbClr val="FFFFFF"/>
                  </a:solidFill>
                  <a:latin typeface="微软雅黑" pitchFamily="34" charset="-122"/>
                  <a:ea typeface="微软雅黑" pitchFamily="34" charset="-122"/>
                  <a:cs typeface="宋体" pitchFamily="2" charset="-122"/>
                </a:rPr>
                <a:t>SUV</a:t>
              </a:r>
            </a:p>
          </p:txBody>
        </p:sp>
        <p:sp>
          <p:nvSpPr>
            <p:cNvPr id="8" name="矩形 7"/>
            <p:cNvSpPr>
              <a:spLocks noChangeArrowheads="1"/>
            </p:cNvSpPr>
            <p:nvPr/>
          </p:nvSpPr>
          <p:spPr bwMode="auto">
            <a:xfrm>
              <a:off x="5796136" y="5171976"/>
              <a:ext cx="15696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0" hangingPunct="0"/>
              <a:r>
                <a:rPr lang="zh-CN" altLang="zh-CN" sz="1200" dirty="0">
                  <a:solidFill>
                    <a:srgbClr val="FFFFFF"/>
                  </a:solidFill>
                  <a:latin typeface="微软雅黑" pitchFamily="34" charset="-122"/>
                  <a:ea typeface="微软雅黑" pitchFamily="34" charset="-122"/>
                </a:rPr>
                <a:t>全型</a:t>
              </a:r>
              <a:r>
                <a:rPr lang="zh-CN" altLang="en-US" sz="1200" dirty="0">
                  <a:solidFill>
                    <a:srgbClr val="FFFFFF"/>
                  </a:solidFill>
                  <a:latin typeface="微软雅黑" pitchFamily="34" charset="-122"/>
                  <a:ea typeface="微软雅黑" pitchFamily="34" charset="-122"/>
                </a:rPr>
                <a:t>、</a:t>
              </a:r>
              <a:r>
                <a:rPr lang="zh-CN" altLang="zh-CN" sz="1200" dirty="0">
                  <a:solidFill>
                    <a:srgbClr val="FFFFFF"/>
                  </a:solidFill>
                  <a:latin typeface="微软雅黑" pitchFamily="34" charset="-122"/>
                  <a:ea typeface="微软雅黑" pitchFamily="34" charset="-122"/>
                </a:rPr>
                <a:t>全速</a:t>
              </a:r>
              <a:r>
                <a:rPr lang="zh-CN" altLang="en-US" sz="1200" dirty="0">
                  <a:solidFill>
                    <a:srgbClr val="FFFFFF"/>
                  </a:solidFill>
                  <a:latin typeface="微软雅黑" pitchFamily="34" charset="-122"/>
                  <a:ea typeface="微软雅黑" pitchFamily="34" charset="-122"/>
                </a:rPr>
                <a:t>、</a:t>
              </a:r>
              <a:r>
                <a:rPr lang="zh-CN" altLang="zh-CN" sz="1200" dirty="0">
                  <a:solidFill>
                    <a:srgbClr val="FFFFFF"/>
                  </a:solidFill>
                  <a:latin typeface="微软雅黑" pitchFamily="34" charset="-122"/>
                  <a:ea typeface="微软雅黑" pitchFamily="34" charset="-122"/>
                </a:rPr>
                <a:t>全智能</a:t>
              </a:r>
              <a:endParaRPr lang="zh-CN" altLang="en-US" sz="1200" dirty="0">
                <a:solidFill>
                  <a:srgbClr val="FFFFFF"/>
                </a:solidFill>
                <a:latin typeface="微软雅黑" pitchFamily="34" charset="-122"/>
                <a:ea typeface="微软雅黑" pitchFamily="34" charset="-122"/>
              </a:endParaRPr>
            </a:p>
          </p:txBody>
        </p:sp>
      </p:grpSp>
    </p:spTree>
    <p:extLst>
      <p:ext uri="{BB962C8B-B14F-4D97-AF65-F5344CB8AC3E}">
        <p14:creationId xmlns:p14="http://schemas.microsoft.com/office/powerpoint/2010/main" val="13811222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0" y="1993404"/>
            <a:ext cx="9144000" cy="2520280"/>
          </a:xfrm>
          <a:prstGeom prst="rect">
            <a:avLst/>
          </a:prstGeom>
          <a:gradFill>
            <a:gsLst>
              <a:gs pos="0">
                <a:schemeClr val="tx1">
                  <a:lumMod val="16000"/>
                  <a:lumOff val="84000"/>
                  <a:alpha val="45000"/>
                </a:schemeClr>
              </a:gs>
              <a:gs pos="100000">
                <a:schemeClr val="bg1">
                  <a:lumMod val="4000"/>
                  <a:lumOff val="96000"/>
                </a:schemeClr>
              </a:gs>
              <a:gs pos="50000">
                <a:schemeClr val="bg1">
                  <a:alpha val="60000"/>
                  <a:lumMod val="77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9" tIns="45709" rIns="91419" bIns="45709" rtlCol="0" anchor="ctr"/>
          <a:lstStyle/>
          <a:p>
            <a:pPr algn="ctr"/>
            <a:endParaRPr lang="zh-CN" altLang="en-US"/>
          </a:p>
        </p:txBody>
      </p:sp>
      <p:pic>
        <p:nvPicPr>
          <p:cNvPr id="3" name="图片 5"/>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矩形 21"/>
          <p:cNvSpPr/>
          <p:nvPr/>
        </p:nvSpPr>
        <p:spPr>
          <a:xfrm>
            <a:off x="1475653" y="1993404"/>
            <a:ext cx="2016226" cy="1260140"/>
          </a:xfrm>
          <a:prstGeom prst="rect">
            <a:avLst/>
          </a:prstGeom>
          <a:solidFill>
            <a:srgbClr val="496F9D"/>
          </a:solidFill>
          <a:ln>
            <a:noFill/>
          </a:ln>
        </p:spPr>
        <p:style>
          <a:lnRef idx="2">
            <a:schemeClr val="accent1">
              <a:shade val="50000"/>
            </a:schemeClr>
          </a:lnRef>
          <a:fillRef idx="1">
            <a:schemeClr val="accent1"/>
          </a:fillRef>
          <a:effectRef idx="0">
            <a:schemeClr val="accent1"/>
          </a:effectRef>
          <a:fontRef idx="minor">
            <a:schemeClr val="lt1"/>
          </a:fontRef>
        </p:style>
        <p:txBody>
          <a:bodyPr lIns="91419" tIns="45709" rIns="91419" bIns="45709" rtlCol="0" anchor="ctr"/>
          <a:lstStyle/>
          <a:p>
            <a:pPr algn="ctr"/>
            <a:endParaRPr lang="zh-CN" altLang="en-US"/>
          </a:p>
        </p:txBody>
      </p:sp>
      <p:sp>
        <p:nvSpPr>
          <p:cNvPr id="19" name="TextBox 18"/>
          <p:cNvSpPr txBox="1"/>
          <p:nvPr/>
        </p:nvSpPr>
        <p:spPr>
          <a:xfrm>
            <a:off x="1547658" y="2261839"/>
            <a:ext cx="1872210" cy="692475"/>
          </a:xfrm>
          <a:prstGeom prst="rect">
            <a:avLst/>
          </a:prstGeom>
          <a:noFill/>
        </p:spPr>
        <p:txBody>
          <a:bodyPr wrap="square" lIns="91419" tIns="45709" rIns="91419" bIns="45709" rtlCol="0">
            <a:spAutoFit/>
          </a:bodyPr>
          <a:lstStyle/>
          <a:p>
            <a:r>
              <a:rPr lang="zh-CN" altLang="en-US" sz="2100" b="1" dirty="0">
                <a:solidFill>
                  <a:schemeClr val="bg1"/>
                </a:solidFill>
                <a:latin typeface="微软雅黑" pitchFamily="34" charset="-122"/>
                <a:ea typeface="微软雅黑" pitchFamily="34" charset="-122"/>
              </a:rPr>
              <a:t>公司介绍</a:t>
            </a:r>
            <a:r>
              <a:rPr lang="en-US" altLang="zh-CN" dirty="0" smtClean="0">
                <a:solidFill>
                  <a:schemeClr val="bg1"/>
                </a:solidFill>
                <a:latin typeface="微软雅黑" pitchFamily="34" charset="-122"/>
                <a:ea typeface="微软雅黑" pitchFamily="34" charset="-122"/>
                <a:cs typeface="Arial" pitchFamily="34" charset="0"/>
              </a:rPr>
              <a:t>ABOUT </a:t>
            </a:r>
            <a:r>
              <a:rPr lang="en-US" altLang="zh-CN" dirty="0" smtClean="0">
                <a:solidFill>
                  <a:schemeClr val="bg1"/>
                </a:solidFill>
                <a:latin typeface="微软雅黑" pitchFamily="34" charset="-122"/>
                <a:ea typeface="微软雅黑" pitchFamily="34" charset="-122"/>
                <a:cs typeface="Arial" pitchFamily="34" charset="0"/>
                <a:sym typeface="黑体" pitchFamily="49" charset="-122"/>
              </a:rPr>
              <a:t>CAPSA</a:t>
            </a:r>
            <a:endParaRPr lang="en-US" altLang="zh-CN" dirty="0">
              <a:solidFill>
                <a:schemeClr val="bg1"/>
              </a:solidFill>
              <a:latin typeface="微软雅黑" pitchFamily="34" charset="-122"/>
              <a:ea typeface="微软雅黑" pitchFamily="34" charset="-122"/>
              <a:cs typeface="Arial" pitchFamily="34" charset="0"/>
            </a:endParaRPr>
          </a:p>
        </p:txBody>
      </p:sp>
      <p:sp>
        <p:nvSpPr>
          <p:cNvPr id="25" name="矩形 24"/>
          <p:cNvSpPr/>
          <p:nvPr/>
        </p:nvSpPr>
        <p:spPr>
          <a:xfrm>
            <a:off x="3491879" y="3253544"/>
            <a:ext cx="2016226" cy="1260140"/>
          </a:xfrm>
          <a:prstGeom prst="rect">
            <a:avLst/>
          </a:prstGeom>
          <a:solidFill>
            <a:srgbClr val="496F9D"/>
          </a:solidFill>
          <a:ln>
            <a:noFill/>
          </a:ln>
        </p:spPr>
        <p:style>
          <a:lnRef idx="2">
            <a:schemeClr val="accent1">
              <a:shade val="50000"/>
            </a:schemeClr>
          </a:lnRef>
          <a:fillRef idx="1">
            <a:schemeClr val="accent1"/>
          </a:fillRef>
          <a:effectRef idx="0">
            <a:schemeClr val="accent1"/>
          </a:effectRef>
          <a:fontRef idx="minor">
            <a:schemeClr val="lt1"/>
          </a:fontRef>
        </p:style>
        <p:txBody>
          <a:bodyPr lIns="91419" tIns="45709" rIns="91419" bIns="45709" rtlCol="0" anchor="ctr"/>
          <a:lstStyle/>
          <a:p>
            <a:pPr algn="ctr"/>
            <a:endParaRPr lang="zh-CN" altLang="en-US"/>
          </a:p>
        </p:txBody>
      </p:sp>
      <p:sp>
        <p:nvSpPr>
          <p:cNvPr id="20" name="TextBox 19"/>
          <p:cNvSpPr txBox="1"/>
          <p:nvPr/>
        </p:nvSpPr>
        <p:spPr>
          <a:xfrm>
            <a:off x="3707904" y="3398868"/>
            <a:ext cx="1728192" cy="969474"/>
          </a:xfrm>
          <a:prstGeom prst="rect">
            <a:avLst/>
          </a:prstGeom>
          <a:noFill/>
        </p:spPr>
        <p:txBody>
          <a:bodyPr wrap="square" lIns="91419" tIns="45709" rIns="91419" bIns="45709" rtlCol="0">
            <a:spAutoFit/>
          </a:bodyPr>
          <a:lstStyle/>
          <a:p>
            <a:r>
              <a:rPr lang="zh-CN" altLang="en-US" sz="2100" b="1" dirty="0">
                <a:solidFill>
                  <a:schemeClr val="bg1">
                    <a:lumMod val="50000"/>
                  </a:schemeClr>
                </a:solidFill>
                <a:latin typeface="微软雅黑" pitchFamily="34" charset="-122"/>
                <a:ea typeface="微软雅黑" pitchFamily="34" charset="-122"/>
                <a:sym typeface="黑体" pitchFamily="49" charset="-122"/>
              </a:rPr>
              <a:t>品牌及产品</a:t>
            </a:r>
            <a:endParaRPr lang="en-US" altLang="zh-CN" sz="2100" b="1" dirty="0">
              <a:solidFill>
                <a:schemeClr val="bg1">
                  <a:lumMod val="50000"/>
                </a:schemeClr>
              </a:solidFill>
              <a:latin typeface="微软雅黑" pitchFamily="34" charset="-122"/>
              <a:ea typeface="微软雅黑" pitchFamily="34" charset="-122"/>
              <a:sym typeface="黑体" pitchFamily="49" charset="-122"/>
            </a:endParaRPr>
          </a:p>
          <a:p>
            <a:r>
              <a:rPr lang="en-US" altLang="zh-CN" dirty="0" smtClean="0">
                <a:solidFill>
                  <a:schemeClr val="bg1">
                    <a:lumMod val="50000"/>
                  </a:schemeClr>
                </a:solidFill>
                <a:latin typeface="微软雅黑" pitchFamily="34" charset="-122"/>
                <a:ea typeface="微软雅黑" pitchFamily="34" charset="-122"/>
                <a:cs typeface="Arial" pitchFamily="34" charset="0"/>
                <a:sym typeface="黑体" pitchFamily="49" charset="-122"/>
              </a:rPr>
              <a:t>BRAND </a:t>
            </a:r>
            <a:r>
              <a:rPr lang="en-US" altLang="zh-CN" dirty="0">
                <a:solidFill>
                  <a:schemeClr val="bg1">
                    <a:lumMod val="50000"/>
                  </a:schemeClr>
                </a:solidFill>
                <a:latin typeface="微软雅黑" pitchFamily="34" charset="-122"/>
                <a:ea typeface="微软雅黑" pitchFamily="34" charset="-122"/>
                <a:cs typeface="Arial" pitchFamily="34" charset="0"/>
                <a:sym typeface="黑体" pitchFamily="49" charset="-122"/>
              </a:rPr>
              <a:t>&amp; </a:t>
            </a:r>
            <a:r>
              <a:rPr lang="en-US" altLang="zh-CN" dirty="0" smtClean="0">
                <a:solidFill>
                  <a:schemeClr val="bg1">
                    <a:lumMod val="50000"/>
                  </a:schemeClr>
                </a:solidFill>
                <a:latin typeface="微软雅黑" pitchFamily="34" charset="-122"/>
                <a:ea typeface="微软雅黑" pitchFamily="34" charset="-122"/>
                <a:cs typeface="Arial" pitchFamily="34" charset="0"/>
                <a:sym typeface="黑体" pitchFamily="49" charset="-122"/>
              </a:rPr>
              <a:t>PRODUCTS</a:t>
            </a:r>
            <a:endParaRPr lang="en-US" altLang="zh-CN" sz="2000" dirty="0">
              <a:solidFill>
                <a:schemeClr val="bg1">
                  <a:lumMod val="50000"/>
                </a:schemeClr>
              </a:solidFill>
              <a:latin typeface="微软雅黑" pitchFamily="34" charset="-122"/>
              <a:ea typeface="微软雅黑" pitchFamily="34" charset="-122"/>
            </a:endParaRPr>
          </a:p>
        </p:txBody>
      </p:sp>
      <p:sp>
        <p:nvSpPr>
          <p:cNvPr id="26" name="矩形 25"/>
          <p:cNvSpPr/>
          <p:nvPr/>
        </p:nvSpPr>
        <p:spPr>
          <a:xfrm>
            <a:off x="5508102" y="1993404"/>
            <a:ext cx="2016226" cy="1260140"/>
          </a:xfrm>
          <a:prstGeom prst="rect">
            <a:avLst/>
          </a:prstGeom>
          <a:solidFill>
            <a:srgbClr val="496F9D"/>
          </a:solidFill>
          <a:ln>
            <a:noFill/>
          </a:ln>
        </p:spPr>
        <p:style>
          <a:lnRef idx="2">
            <a:schemeClr val="accent1">
              <a:shade val="50000"/>
            </a:schemeClr>
          </a:lnRef>
          <a:fillRef idx="1">
            <a:schemeClr val="accent1"/>
          </a:fillRef>
          <a:effectRef idx="0">
            <a:schemeClr val="accent1"/>
          </a:effectRef>
          <a:fontRef idx="minor">
            <a:schemeClr val="lt1"/>
          </a:fontRef>
        </p:style>
        <p:txBody>
          <a:bodyPr lIns="91419" tIns="45709" rIns="91419" bIns="45709" rtlCol="0" anchor="ctr"/>
          <a:lstStyle/>
          <a:p>
            <a:pPr algn="ctr"/>
            <a:endParaRPr lang="zh-CN" altLang="en-US"/>
          </a:p>
        </p:txBody>
      </p:sp>
      <p:sp>
        <p:nvSpPr>
          <p:cNvPr id="21" name="TextBox 20"/>
          <p:cNvSpPr txBox="1"/>
          <p:nvPr/>
        </p:nvSpPr>
        <p:spPr>
          <a:xfrm>
            <a:off x="5834259" y="2280466"/>
            <a:ext cx="1363917" cy="738642"/>
          </a:xfrm>
          <a:prstGeom prst="rect">
            <a:avLst/>
          </a:prstGeom>
          <a:noFill/>
        </p:spPr>
        <p:txBody>
          <a:bodyPr wrap="square" lIns="91419" tIns="45709" rIns="91419" bIns="45709" rtlCol="0">
            <a:spAutoFit/>
          </a:bodyPr>
          <a:lstStyle/>
          <a:p>
            <a:r>
              <a:rPr lang="zh-CN" altLang="en-US" sz="2100" b="1" dirty="0">
                <a:solidFill>
                  <a:schemeClr val="bg1">
                    <a:lumMod val="50000"/>
                  </a:schemeClr>
                </a:solidFill>
                <a:latin typeface="微软雅黑" pitchFamily="34" charset="-122"/>
                <a:ea typeface="微软雅黑" pitchFamily="34" charset="-122"/>
                <a:sym typeface="黑体" pitchFamily="49" charset="-122"/>
              </a:rPr>
              <a:t>企业文化</a:t>
            </a:r>
            <a:r>
              <a:rPr lang="en-US" altLang="zh-CN" sz="2100" dirty="0">
                <a:solidFill>
                  <a:schemeClr val="bg1">
                    <a:lumMod val="50000"/>
                  </a:schemeClr>
                </a:solidFill>
                <a:latin typeface="微软雅黑" pitchFamily="34" charset="-122"/>
                <a:ea typeface="微软雅黑" pitchFamily="34" charset="-122"/>
                <a:sym typeface="黑体" pitchFamily="49" charset="-122"/>
              </a:rPr>
              <a:t>CULTURE</a:t>
            </a:r>
            <a:endParaRPr lang="en-US" altLang="zh-CN" sz="2100" dirty="0">
              <a:solidFill>
                <a:schemeClr val="bg1">
                  <a:lumMod val="50000"/>
                </a:schemeClr>
              </a:solidFill>
              <a:latin typeface="微软雅黑" pitchFamily="34" charset="-122"/>
              <a:ea typeface="微软雅黑" pitchFamily="34" charset="-122"/>
            </a:endParaRPr>
          </a:p>
        </p:txBody>
      </p:sp>
      <p:pic>
        <p:nvPicPr>
          <p:cNvPr id="205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581" b="5229"/>
          <a:stretch/>
        </p:blipFill>
        <p:spPr bwMode="auto">
          <a:xfrm>
            <a:off x="1475652" y="3253544"/>
            <a:ext cx="2016225" cy="1260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9705"/>
          <a:stretch/>
        </p:blipFill>
        <p:spPr bwMode="auto">
          <a:xfrm>
            <a:off x="5508106" y="3253545"/>
            <a:ext cx="2016226" cy="1260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697135" y="580828"/>
            <a:ext cx="1858643" cy="692475"/>
          </a:xfrm>
          <a:prstGeom prst="rect">
            <a:avLst/>
          </a:prstGeom>
          <a:noFill/>
        </p:spPr>
        <p:txBody>
          <a:bodyPr wrap="square" lIns="91419" tIns="45709" rIns="91419" bIns="45709" rtlCol="0">
            <a:spAutoFit/>
          </a:bodyPr>
          <a:lstStyle/>
          <a:p>
            <a:r>
              <a:rPr lang="zh-CN" altLang="en-US" sz="2100" b="1" dirty="0">
                <a:solidFill>
                  <a:srgbClr val="C00000"/>
                </a:solidFill>
                <a:latin typeface="微软雅黑" pitchFamily="34" charset="-122"/>
                <a:ea typeface="微软雅黑" pitchFamily="34" charset="-122"/>
              </a:rPr>
              <a:t>目 录</a:t>
            </a:r>
            <a:endParaRPr lang="en-US" altLang="zh-CN" sz="2100" b="1" dirty="0">
              <a:solidFill>
                <a:srgbClr val="C00000"/>
              </a:solidFill>
              <a:latin typeface="微软雅黑" pitchFamily="34" charset="-122"/>
              <a:ea typeface="微软雅黑" pitchFamily="34" charset="-122"/>
            </a:endParaRPr>
          </a:p>
          <a:p>
            <a:r>
              <a:rPr lang="en-US" altLang="zh-CN" b="1" dirty="0" smtClean="0">
                <a:solidFill>
                  <a:srgbClr val="C00000"/>
                </a:solidFill>
                <a:latin typeface="微软雅黑" pitchFamily="34" charset="-122"/>
                <a:ea typeface="微软雅黑" pitchFamily="34" charset="-122"/>
              </a:rPr>
              <a:t>CONTENTS</a:t>
            </a:r>
            <a:endParaRPr lang="zh-CN" altLang="en-US" b="1" dirty="0">
              <a:solidFill>
                <a:srgbClr val="C00000"/>
              </a:solidFill>
              <a:latin typeface="微软雅黑" pitchFamily="34" charset="-122"/>
              <a:ea typeface="微软雅黑" pitchFamily="34" charset="-122"/>
            </a:endParaRPr>
          </a:p>
        </p:txBody>
      </p:sp>
      <p:sp>
        <p:nvSpPr>
          <p:cNvPr id="37"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pic>
        <p:nvPicPr>
          <p:cNvPr id="10241" name="Picture 1" descr="C:\Users\c000257\AppData\Roaming\Tencent\Users\413468010\QQ\WinTemp\RichOle\LONG2HY}I9QBFF_FCAKBHQB.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1895" r="14566" b="10206"/>
          <a:stretch/>
        </p:blipFill>
        <p:spPr bwMode="auto">
          <a:xfrm>
            <a:off x="3491879" y="1993406"/>
            <a:ext cx="2016228" cy="1278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262090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5"/>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697132" y="625254"/>
            <a:ext cx="2074668" cy="615531"/>
          </a:xfrm>
          <a:prstGeom prst="rect">
            <a:avLst/>
          </a:prstGeom>
          <a:noFill/>
        </p:spPr>
        <p:txBody>
          <a:bodyPr wrap="square" lIns="91419" tIns="45709" rIns="91419" bIns="45709" rtlCol="0">
            <a:spAutoFit/>
          </a:bodyPr>
          <a:lstStyle/>
          <a:p>
            <a:r>
              <a:rPr lang="zh-CN" altLang="en-US" sz="2000" b="1" dirty="0">
                <a:solidFill>
                  <a:srgbClr val="C00000"/>
                </a:solidFill>
                <a:latin typeface="微软雅黑" pitchFamily="34" charset="-122"/>
                <a:ea typeface="微软雅黑" pitchFamily="34" charset="-122"/>
              </a:rPr>
              <a:t>车型展示</a:t>
            </a:r>
            <a:endParaRPr lang="en-US" altLang="zh-CN" sz="2000" b="1" dirty="0">
              <a:solidFill>
                <a:srgbClr val="C00000"/>
              </a:solidFill>
              <a:latin typeface="微软雅黑" pitchFamily="34" charset="-122"/>
              <a:ea typeface="微软雅黑" pitchFamily="34" charset="-122"/>
            </a:endParaRPr>
          </a:p>
          <a:p>
            <a:r>
              <a:rPr lang="en-US" altLang="zh-CN" sz="1400" b="1" dirty="0">
                <a:solidFill>
                  <a:srgbClr val="C00000"/>
                </a:solidFill>
                <a:latin typeface="微软雅黑" pitchFamily="34" charset="-122"/>
                <a:ea typeface="微软雅黑" pitchFamily="34" charset="-122"/>
                <a:cs typeface="Arial" pitchFamily="34" charset="0"/>
              </a:rPr>
              <a:t>Main Product </a:t>
            </a:r>
            <a:endParaRPr lang="en-US" altLang="zh-CN" sz="1400" b="1" dirty="0">
              <a:solidFill>
                <a:srgbClr val="C00000"/>
              </a:solidFill>
              <a:latin typeface="微软雅黑" pitchFamily="34" charset="-122"/>
              <a:ea typeface="微软雅黑" pitchFamily="34" charset="-122"/>
              <a:cs typeface="Arial" pitchFamily="34" charset="0"/>
              <a:sym typeface="黑体" pitchFamily="49" charset="-122"/>
            </a:endParaRPr>
          </a:p>
        </p:txBody>
      </p:sp>
      <p:sp>
        <p:nvSpPr>
          <p:cNvPr id="4"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pic>
        <p:nvPicPr>
          <p:cNvPr id="5" name="图片 4"/>
          <p:cNvPicPr>
            <a:picLocks noChangeAspect="1"/>
          </p:cNvPicPr>
          <p:nvPr/>
        </p:nvPicPr>
        <p:blipFill rotWithShape="1">
          <a:blip r:embed="rId3" cstate="print">
            <a:extLst>
              <a:ext uri="{28A0092B-C50C-407E-A947-70E740481C1C}">
                <a14:useLocalDpi xmlns:a14="http://schemas.microsoft.com/office/drawing/2010/main" val="0"/>
              </a:ext>
            </a:extLst>
          </a:blip>
          <a:srcRect t="24665"/>
          <a:stretch/>
        </p:blipFill>
        <p:spPr>
          <a:xfrm>
            <a:off x="0" y="1417341"/>
            <a:ext cx="9144000" cy="4297660"/>
          </a:xfrm>
          <a:prstGeom prst="rect">
            <a:avLst/>
          </a:prstGeom>
        </p:spPr>
      </p:pic>
      <p:sp>
        <p:nvSpPr>
          <p:cNvPr id="6" name="矩形 5"/>
          <p:cNvSpPr/>
          <p:nvPr/>
        </p:nvSpPr>
        <p:spPr bwMode="auto">
          <a:xfrm>
            <a:off x="5813653" y="4978105"/>
            <a:ext cx="3295054" cy="736896"/>
          </a:xfrm>
          <a:prstGeom prst="rect">
            <a:avLst/>
          </a:prstGeom>
          <a:gradFill>
            <a:gsLst>
              <a:gs pos="0">
                <a:schemeClr val="accent6">
                  <a:lumMod val="40000"/>
                  <a:lumOff val="60000"/>
                  <a:alpha val="19000"/>
                </a:schemeClr>
              </a:gs>
              <a:gs pos="100000">
                <a:schemeClr val="accent6">
                  <a:lumMod val="40000"/>
                  <a:lumOff val="60000"/>
                  <a:alpha val="52000"/>
                </a:schemeClr>
              </a:gs>
              <a:gs pos="100000">
                <a:schemeClr val="accent6">
                  <a:lumMod val="20000"/>
                  <a:lumOff val="80000"/>
                  <a:alpha val="43000"/>
                </a:schemeClr>
              </a:gs>
            </a:gsLst>
            <a:lin ang="2700000" scaled="1"/>
          </a:gradFill>
          <a:ln w="9525" cap="flat" cmpd="sng" algn="ctr">
            <a:noFill/>
            <a:prstDash val="solid"/>
            <a:round/>
            <a:headEnd type="none" w="med" len="med"/>
            <a:tailEnd type="none" w="med" len="med"/>
          </a:ln>
          <a:effectLst/>
          <a:extLst/>
        </p:spPr>
        <p:txBody>
          <a:bodyPr lIns="91419" tIns="45709" rIns="91419" bIns="45709"/>
          <a:lstStyle/>
          <a:p>
            <a:pPr eaLnBrk="0" hangingPunct="0">
              <a:defRPr/>
            </a:pPr>
            <a:endParaRPr lang="zh-CN" altLang="en-US" sz="2000">
              <a:solidFill>
                <a:srgbClr val="000000"/>
              </a:solidFill>
              <a:latin typeface="CorpoS" pitchFamily="2" charset="0"/>
            </a:endParaRPr>
          </a:p>
        </p:txBody>
      </p:sp>
      <p:sp>
        <p:nvSpPr>
          <p:cNvPr id="9" name="矩形 8"/>
          <p:cNvSpPr>
            <a:spLocks noChangeArrowheads="1"/>
          </p:cNvSpPr>
          <p:nvPr/>
        </p:nvSpPr>
        <p:spPr bwMode="auto">
          <a:xfrm>
            <a:off x="5868144" y="5086203"/>
            <a:ext cx="3171794" cy="507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9" tIns="45709" rIns="91419" bIns="45709">
            <a:spAutoFit/>
          </a:bodyPr>
          <a:lstStyle/>
          <a:p>
            <a:pPr>
              <a:lnSpc>
                <a:spcPct val="150000"/>
              </a:lnSpc>
            </a:pPr>
            <a:r>
              <a:rPr lang="en-US" altLang="zh-CN" b="1" dirty="0" smtClean="0">
                <a:solidFill>
                  <a:srgbClr val="FFFFFF"/>
                </a:solidFill>
                <a:latin typeface="微软雅黑" pitchFamily="34" charset="-122"/>
                <a:ea typeface="微软雅黑" pitchFamily="34" charset="-122"/>
                <a:cs typeface="宋体" pitchFamily="2" charset="-122"/>
              </a:rPr>
              <a:t>DS 4S</a:t>
            </a:r>
            <a:r>
              <a:rPr lang="zh-CN" altLang="en-US" b="1" dirty="0">
                <a:solidFill>
                  <a:srgbClr val="FFFFFF"/>
                </a:solidFill>
                <a:latin typeface="微软雅黑" pitchFamily="34" charset="-122"/>
                <a:ea typeface="微软雅黑" pitchFamily="34" charset="-122"/>
                <a:cs typeface="宋体" pitchFamily="2" charset="-122"/>
              </a:rPr>
              <a:t>精致</a:t>
            </a:r>
            <a:r>
              <a:rPr lang="zh-CN" altLang="en-US" b="1" dirty="0" smtClean="0">
                <a:solidFill>
                  <a:srgbClr val="FFFFFF"/>
                </a:solidFill>
                <a:latin typeface="微软雅黑" pitchFamily="34" charset="-122"/>
                <a:ea typeface="微软雅黑" pitchFamily="34" charset="-122"/>
                <a:cs typeface="宋体" pitchFamily="2" charset="-122"/>
              </a:rPr>
              <a:t>动感两厢车</a:t>
            </a:r>
            <a:endParaRPr lang="en-US" altLang="zh-CN" b="1" dirty="0" smtClean="0">
              <a:solidFill>
                <a:srgbClr val="FFFFFF"/>
              </a:solidFill>
              <a:latin typeface="微软雅黑" pitchFamily="34" charset="-122"/>
              <a:ea typeface="微软雅黑" pitchFamily="34" charset="-122"/>
              <a:cs typeface="宋体" pitchFamily="2" charset="-122"/>
            </a:endParaRPr>
          </a:p>
        </p:txBody>
      </p:sp>
    </p:spTree>
    <p:extLst>
      <p:ext uri="{BB962C8B-B14F-4D97-AF65-F5344CB8AC3E}">
        <p14:creationId xmlns:p14="http://schemas.microsoft.com/office/powerpoint/2010/main" val="4022398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7" name="Picture 3" descr="C:\Users\c000257\AppData\Roaming\Tencent\Users\413468010\QQ\WinTemp\RichOle\$T52C`B@X9WW]1~($I535B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435360"/>
            <a:ext cx="9144000" cy="4302460"/>
          </a:xfrm>
          <a:prstGeom prst="rect">
            <a:avLst/>
          </a:prstGeom>
          <a:noFill/>
          <a:extLst>
            <a:ext uri="{909E8E84-426E-40DD-AFC4-6F175D3DCCD1}">
              <a14:hiddenFill xmlns:a14="http://schemas.microsoft.com/office/drawing/2010/main">
                <a:solidFill>
                  <a:srgbClr val="FFFFFF"/>
                </a:solidFill>
              </a14:hiddenFill>
            </a:ext>
          </a:extLst>
        </p:spPr>
      </p:pic>
      <p:pic>
        <p:nvPicPr>
          <p:cNvPr id="2" name="图片 5"/>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697132" y="625254"/>
            <a:ext cx="2074668" cy="615531"/>
          </a:xfrm>
          <a:prstGeom prst="rect">
            <a:avLst/>
          </a:prstGeom>
          <a:noFill/>
        </p:spPr>
        <p:txBody>
          <a:bodyPr wrap="square" lIns="91419" tIns="45709" rIns="91419" bIns="45709" rtlCol="0">
            <a:spAutoFit/>
          </a:bodyPr>
          <a:lstStyle/>
          <a:p>
            <a:r>
              <a:rPr lang="zh-CN" altLang="en-US" sz="2000" b="1" dirty="0">
                <a:solidFill>
                  <a:srgbClr val="C00000"/>
                </a:solidFill>
                <a:latin typeface="微软雅黑" pitchFamily="34" charset="-122"/>
                <a:ea typeface="微软雅黑" pitchFamily="34" charset="-122"/>
              </a:rPr>
              <a:t>车型展示</a:t>
            </a:r>
            <a:endParaRPr lang="en-US" altLang="zh-CN" sz="2000" b="1" dirty="0">
              <a:solidFill>
                <a:srgbClr val="C00000"/>
              </a:solidFill>
              <a:latin typeface="微软雅黑" pitchFamily="34" charset="-122"/>
              <a:ea typeface="微软雅黑" pitchFamily="34" charset="-122"/>
            </a:endParaRPr>
          </a:p>
          <a:p>
            <a:r>
              <a:rPr lang="en-US" altLang="zh-CN" sz="1400" b="1" dirty="0">
                <a:solidFill>
                  <a:srgbClr val="C00000"/>
                </a:solidFill>
                <a:latin typeface="微软雅黑" pitchFamily="34" charset="-122"/>
                <a:ea typeface="微软雅黑" pitchFamily="34" charset="-122"/>
                <a:cs typeface="Arial" pitchFamily="34" charset="0"/>
              </a:rPr>
              <a:t>Main Product </a:t>
            </a:r>
            <a:endParaRPr lang="en-US" altLang="zh-CN" sz="1400" b="1" dirty="0">
              <a:solidFill>
                <a:srgbClr val="C00000"/>
              </a:solidFill>
              <a:latin typeface="微软雅黑" pitchFamily="34" charset="-122"/>
              <a:ea typeface="微软雅黑" pitchFamily="34" charset="-122"/>
              <a:cs typeface="Arial" pitchFamily="34" charset="0"/>
              <a:sym typeface="黑体" pitchFamily="49" charset="-122"/>
            </a:endParaRPr>
          </a:p>
        </p:txBody>
      </p:sp>
      <p:sp>
        <p:nvSpPr>
          <p:cNvPr id="4"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grpSp>
        <p:nvGrpSpPr>
          <p:cNvPr id="8" name="组合 7"/>
          <p:cNvGrpSpPr/>
          <p:nvPr/>
        </p:nvGrpSpPr>
        <p:grpSpPr>
          <a:xfrm>
            <a:off x="6266622" y="4978105"/>
            <a:ext cx="2842084" cy="736896"/>
            <a:chOff x="5683023" y="5062241"/>
            <a:chExt cx="3331368" cy="736896"/>
          </a:xfrm>
        </p:grpSpPr>
        <p:sp>
          <p:nvSpPr>
            <p:cNvPr id="6" name="矩形 5"/>
            <p:cNvSpPr/>
            <p:nvPr/>
          </p:nvSpPr>
          <p:spPr bwMode="auto">
            <a:xfrm>
              <a:off x="5683023" y="5062241"/>
              <a:ext cx="3331368" cy="736896"/>
            </a:xfrm>
            <a:prstGeom prst="rect">
              <a:avLst/>
            </a:prstGeom>
            <a:gradFill>
              <a:gsLst>
                <a:gs pos="0">
                  <a:schemeClr val="accent6">
                    <a:lumMod val="40000"/>
                    <a:lumOff val="60000"/>
                    <a:alpha val="19000"/>
                  </a:schemeClr>
                </a:gs>
                <a:gs pos="100000">
                  <a:schemeClr val="accent6">
                    <a:lumMod val="40000"/>
                    <a:lumOff val="60000"/>
                    <a:alpha val="52000"/>
                  </a:schemeClr>
                </a:gs>
                <a:gs pos="100000">
                  <a:schemeClr val="accent6">
                    <a:lumMod val="20000"/>
                    <a:lumOff val="80000"/>
                    <a:alpha val="43000"/>
                  </a:schemeClr>
                </a:gs>
              </a:gsLst>
              <a:lin ang="2700000" scaled="1"/>
            </a:gradFill>
            <a:ln w="9525" cap="flat" cmpd="sng" algn="ctr">
              <a:noFill/>
              <a:prstDash val="solid"/>
              <a:round/>
              <a:headEnd type="none" w="med" len="med"/>
              <a:tailEnd type="none" w="med" len="med"/>
            </a:ln>
            <a:effectLst/>
            <a:extLst/>
          </p:spPr>
          <p:txBody>
            <a:bodyPr/>
            <a:lstStyle/>
            <a:p>
              <a:pPr algn="ctr" eaLnBrk="0" hangingPunct="0">
                <a:defRPr/>
              </a:pPr>
              <a:endParaRPr lang="zh-CN" altLang="en-US" sz="2000" dirty="0">
                <a:solidFill>
                  <a:srgbClr val="000000"/>
                </a:solidFill>
                <a:latin typeface="CorpoS" pitchFamily="2" charset="0"/>
              </a:endParaRPr>
            </a:p>
          </p:txBody>
        </p:sp>
        <p:sp>
          <p:nvSpPr>
            <p:cNvPr id="7" name="矩形 6"/>
            <p:cNvSpPr>
              <a:spLocks noChangeArrowheads="1"/>
            </p:cNvSpPr>
            <p:nvPr/>
          </p:nvSpPr>
          <p:spPr bwMode="auto">
            <a:xfrm>
              <a:off x="5807641" y="5170339"/>
              <a:ext cx="3206750" cy="458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150000"/>
                </a:lnSpc>
              </a:pPr>
              <a:r>
                <a:rPr lang="zh-CN" altLang="en-US" b="1" dirty="0">
                  <a:solidFill>
                    <a:srgbClr val="FFFFFF"/>
                  </a:solidFill>
                  <a:latin typeface="微软雅黑" pitchFamily="34" charset="-122"/>
                  <a:ea typeface="微软雅黑" pitchFamily="34" charset="-122"/>
                  <a:cs typeface="宋体" pitchFamily="2" charset="-122"/>
                </a:rPr>
                <a:t>先锋智尚</a:t>
              </a:r>
              <a:r>
                <a:rPr lang="en-US" altLang="zh-CN" b="1" dirty="0">
                  <a:solidFill>
                    <a:srgbClr val="FFFFFF"/>
                  </a:solidFill>
                  <a:latin typeface="微软雅黑" pitchFamily="34" charset="-122"/>
                  <a:ea typeface="微软雅黑" pitchFamily="34" charset="-122"/>
                  <a:cs typeface="宋体" pitchFamily="2" charset="-122"/>
                </a:rPr>
                <a:t>SUV</a:t>
              </a:r>
              <a:endParaRPr lang="en-US" altLang="zh-CN" b="1" dirty="0" smtClean="0">
                <a:solidFill>
                  <a:srgbClr val="FFFFFF"/>
                </a:solidFill>
                <a:latin typeface="微软雅黑" pitchFamily="34" charset="-122"/>
                <a:ea typeface="微软雅黑" pitchFamily="34" charset="-122"/>
                <a:cs typeface="宋体" pitchFamily="2" charset="-122"/>
              </a:endParaRPr>
            </a:p>
          </p:txBody>
        </p:sp>
      </p:grpSp>
    </p:spTree>
    <p:extLst>
      <p:ext uri="{BB962C8B-B14F-4D97-AF65-F5344CB8AC3E}">
        <p14:creationId xmlns:p14="http://schemas.microsoft.com/office/powerpoint/2010/main" val="4327663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5"/>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697132" y="625254"/>
            <a:ext cx="2074668" cy="615531"/>
          </a:xfrm>
          <a:prstGeom prst="rect">
            <a:avLst/>
          </a:prstGeom>
          <a:noFill/>
        </p:spPr>
        <p:txBody>
          <a:bodyPr wrap="square" lIns="91419" tIns="45709" rIns="91419" bIns="45709" rtlCol="0">
            <a:spAutoFit/>
          </a:bodyPr>
          <a:lstStyle/>
          <a:p>
            <a:r>
              <a:rPr lang="zh-CN" altLang="en-US" sz="2000" b="1" dirty="0">
                <a:solidFill>
                  <a:srgbClr val="C00000"/>
                </a:solidFill>
                <a:latin typeface="微软雅黑" pitchFamily="34" charset="-122"/>
                <a:ea typeface="微软雅黑" pitchFamily="34" charset="-122"/>
              </a:rPr>
              <a:t>产品规划</a:t>
            </a:r>
            <a:endParaRPr lang="en-US" altLang="zh-CN" sz="2000" b="1" dirty="0">
              <a:solidFill>
                <a:srgbClr val="C00000"/>
              </a:solidFill>
              <a:latin typeface="微软雅黑" pitchFamily="34" charset="-122"/>
              <a:ea typeface="微软雅黑" pitchFamily="34" charset="-122"/>
            </a:endParaRPr>
          </a:p>
          <a:p>
            <a:r>
              <a:rPr lang="en-US" altLang="zh-CN" sz="1400" b="1" dirty="0">
                <a:solidFill>
                  <a:srgbClr val="C00000"/>
                </a:solidFill>
                <a:latin typeface="微软雅黑" pitchFamily="34" charset="-122"/>
                <a:ea typeface="微软雅黑" pitchFamily="34" charset="-122"/>
                <a:cs typeface="Arial" pitchFamily="34" charset="0"/>
              </a:rPr>
              <a:t>Product Plan </a:t>
            </a:r>
            <a:endParaRPr lang="en-US" altLang="zh-CN" sz="1400" b="1" dirty="0">
              <a:solidFill>
                <a:srgbClr val="C00000"/>
              </a:solidFill>
              <a:latin typeface="微软雅黑" pitchFamily="34" charset="-122"/>
              <a:ea typeface="微软雅黑" pitchFamily="34" charset="-122"/>
              <a:cs typeface="Arial" pitchFamily="34" charset="0"/>
              <a:sym typeface="黑体" pitchFamily="49" charset="-122"/>
            </a:endParaRPr>
          </a:p>
        </p:txBody>
      </p:sp>
      <p:sp>
        <p:nvSpPr>
          <p:cNvPr id="4"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grpSp>
        <p:nvGrpSpPr>
          <p:cNvPr id="27" name="组合 26"/>
          <p:cNvGrpSpPr/>
          <p:nvPr/>
        </p:nvGrpSpPr>
        <p:grpSpPr>
          <a:xfrm>
            <a:off x="922041" y="1917189"/>
            <a:ext cx="7554912" cy="3460591"/>
            <a:chOff x="827584" y="1849388"/>
            <a:chExt cx="7554912" cy="3460591"/>
          </a:xfrm>
        </p:grpSpPr>
        <p:pic>
          <p:nvPicPr>
            <p:cNvPr id="9" name="Picture 4" descr="E:\DS\素材\未标题-4 副本.png"/>
            <p:cNvPicPr>
              <a:picLocks noChangeAspect="1" noChangeArrowheads="1"/>
            </p:cNvPicPr>
            <p:nvPr/>
          </p:nvPicPr>
          <p:blipFill>
            <a:blip r:embed="rId3">
              <a:lum contrast="40000"/>
              <a:extLst>
                <a:ext uri="{28A0092B-C50C-407E-A947-70E740481C1C}">
                  <a14:useLocalDpi xmlns:a14="http://schemas.microsoft.com/office/drawing/2010/main" val="0"/>
                </a:ext>
              </a:extLst>
            </a:blip>
            <a:srcRect/>
            <a:stretch>
              <a:fillRect/>
            </a:stretch>
          </p:blipFill>
          <p:spPr bwMode="auto">
            <a:xfrm>
              <a:off x="831073" y="1905469"/>
              <a:ext cx="1216025" cy="340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descr="E:\DS\素材\未标题-4 副本.png"/>
            <p:cNvPicPr>
              <a:picLocks noChangeAspect="1" noChangeArrowheads="1"/>
            </p:cNvPicPr>
            <p:nvPr/>
          </p:nvPicPr>
          <p:blipFill>
            <a:blip r:embed="rId3">
              <a:lum contrast="40000"/>
              <a:extLst>
                <a:ext uri="{28A0092B-C50C-407E-A947-70E740481C1C}">
                  <a14:useLocalDpi xmlns:a14="http://schemas.microsoft.com/office/drawing/2010/main" val="0"/>
                </a:ext>
              </a:extLst>
            </a:blip>
            <a:srcRect/>
            <a:stretch>
              <a:fillRect/>
            </a:stretch>
          </p:blipFill>
          <p:spPr bwMode="auto">
            <a:xfrm>
              <a:off x="2162984" y="1905469"/>
              <a:ext cx="1168400" cy="340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4" descr="E:\DS\素材\未标题-4 副本.png"/>
            <p:cNvPicPr>
              <a:picLocks noChangeAspect="1" noChangeArrowheads="1"/>
            </p:cNvPicPr>
            <p:nvPr/>
          </p:nvPicPr>
          <p:blipFill>
            <a:blip r:embed="rId3">
              <a:lum contrast="40000"/>
              <a:extLst>
                <a:ext uri="{28A0092B-C50C-407E-A947-70E740481C1C}">
                  <a14:useLocalDpi xmlns:a14="http://schemas.microsoft.com/office/drawing/2010/main" val="0"/>
                </a:ext>
              </a:extLst>
            </a:blip>
            <a:srcRect/>
            <a:stretch>
              <a:fillRect/>
            </a:stretch>
          </p:blipFill>
          <p:spPr bwMode="auto">
            <a:xfrm>
              <a:off x="3464736" y="1905469"/>
              <a:ext cx="1106487" cy="340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4" descr="E:\DS\素材\未标题-4 副本.png"/>
            <p:cNvPicPr>
              <a:picLocks noChangeAspect="1" noChangeArrowheads="1"/>
            </p:cNvPicPr>
            <p:nvPr/>
          </p:nvPicPr>
          <p:blipFill>
            <a:blip r:embed="rId3">
              <a:lum contrast="40000"/>
              <a:extLst>
                <a:ext uri="{28A0092B-C50C-407E-A947-70E740481C1C}">
                  <a14:useLocalDpi xmlns:a14="http://schemas.microsoft.com/office/drawing/2010/main" val="0"/>
                </a:ext>
              </a:extLst>
            </a:blip>
            <a:srcRect/>
            <a:stretch>
              <a:fillRect/>
            </a:stretch>
          </p:blipFill>
          <p:spPr bwMode="auto">
            <a:xfrm>
              <a:off x="4693461" y="1905469"/>
              <a:ext cx="1144587" cy="340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E:\DS\素材\未标题-4 副本.png"/>
            <p:cNvPicPr>
              <a:picLocks noChangeAspect="1" noChangeArrowheads="1"/>
            </p:cNvPicPr>
            <p:nvPr/>
          </p:nvPicPr>
          <p:blipFill>
            <a:blip r:embed="rId3">
              <a:lum contrast="40000"/>
              <a:extLst>
                <a:ext uri="{28A0092B-C50C-407E-A947-70E740481C1C}">
                  <a14:useLocalDpi xmlns:a14="http://schemas.microsoft.com/office/drawing/2010/main" val="0"/>
                </a:ext>
              </a:extLst>
            </a:blip>
            <a:srcRect/>
            <a:stretch>
              <a:fillRect/>
            </a:stretch>
          </p:blipFill>
          <p:spPr bwMode="auto">
            <a:xfrm>
              <a:off x="5979336" y="1905469"/>
              <a:ext cx="1144587" cy="340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4" descr="E:\DS\素材\未标题-4 副本.png"/>
            <p:cNvPicPr>
              <a:picLocks noChangeAspect="1" noChangeArrowheads="1"/>
            </p:cNvPicPr>
            <p:nvPr/>
          </p:nvPicPr>
          <p:blipFill>
            <a:blip r:embed="rId3">
              <a:lum contrast="40000"/>
              <a:extLst>
                <a:ext uri="{28A0092B-C50C-407E-A947-70E740481C1C}">
                  <a14:useLocalDpi xmlns:a14="http://schemas.microsoft.com/office/drawing/2010/main" val="0"/>
                </a:ext>
              </a:extLst>
            </a:blip>
            <a:srcRect/>
            <a:stretch>
              <a:fillRect/>
            </a:stretch>
          </p:blipFill>
          <p:spPr bwMode="auto">
            <a:xfrm>
              <a:off x="7236636" y="1914994"/>
              <a:ext cx="1144587" cy="1692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7584" y="1849388"/>
              <a:ext cx="12207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文本占位符 1"/>
            <p:cNvSpPr txBox="1">
              <a:spLocks/>
            </p:cNvSpPr>
            <p:nvPr/>
          </p:nvSpPr>
          <p:spPr>
            <a:xfrm>
              <a:off x="832914" y="1904721"/>
              <a:ext cx="1244030" cy="286232"/>
            </a:xfrm>
            <a:prstGeom prst="rect">
              <a:avLst/>
            </a:prstGeom>
            <a:noFill/>
            <a:ln>
              <a:noFill/>
            </a:ln>
            <a:effectLst/>
            <a:extLst/>
          </p:spPr>
          <p:txBody>
            <a:bodyPr lIns="0" tIns="0" rIns="0" bIns="0">
              <a:spAutoFit/>
              <a:scene3d>
                <a:camera prst="orthographicFront"/>
                <a:lightRig rig="soft" dir="t">
                  <a:rot lat="0" lon="0" rev="10800000"/>
                </a:lightRig>
              </a:scene3d>
              <a:sp3d>
                <a:bevelT w="27940" h="12700"/>
                <a:contourClr>
                  <a:srgbClr val="DDDDDD"/>
                </a:contourClr>
              </a:sp3d>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eaLnBrk="0" hangingPunct="0">
                <a:defRPr/>
              </a:pPr>
              <a:r>
                <a:rPr lang="en-US" altLang="zh-CN" b="1" i="1" spc="150" dirty="0">
                  <a:ln w="11430"/>
                  <a:solidFill>
                    <a:srgbClr val="F8F8F8"/>
                  </a:solidFill>
                  <a:effectLst>
                    <a:outerShdw blurRad="25400" algn="tl" rotWithShape="0">
                      <a:srgbClr val="000000">
                        <a:alpha val="43000"/>
                      </a:srgbClr>
                    </a:outerShdw>
                  </a:effectLst>
                  <a:latin typeface="微软雅黑" panose="020B0503020204020204" pitchFamily="34" charset="-122"/>
                  <a:ea typeface="微软雅黑" panose="020B0503020204020204" pitchFamily="34" charset="-122"/>
                </a:rPr>
                <a:t>2013</a:t>
              </a:r>
              <a:endParaRPr lang="zh-CN" altLang="en-US" b="1" i="1" spc="150" dirty="0">
                <a:ln w="11430"/>
                <a:solidFill>
                  <a:srgbClr val="F8F8F8"/>
                </a:solidFill>
                <a:effectLst>
                  <a:outerShdw blurRad="25400" algn="tl" rotWithShape="0">
                    <a:srgbClr val="000000">
                      <a:alpha val="43000"/>
                    </a:srgbClr>
                  </a:outerShdw>
                </a:effectLst>
                <a:latin typeface="微软雅黑" panose="020B0503020204020204" pitchFamily="34" charset="-122"/>
                <a:ea typeface="微软雅黑" panose="020B0503020204020204" pitchFamily="34" charset="-122"/>
              </a:endParaRPr>
            </a:p>
          </p:txBody>
        </p:sp>
        <p:pic>
          <p:nvPicPr>
            <p:cNvPr id="1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9019" y="1849388"/>
              <a:ext cx="11636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文本占位符 1"/>
            <p:cNvSpPr txBox="1">
              <a:spLocks/>
            </p:cNvSpPr>
            <p:nvPr/>
          </p:nvSpPr>
          <p:spPr>
            <a:xfrm>
              <a:off x="2164107" y="1904721"/>
              <a:ext cx="1236812" cy="286232"/>
            </a:xfrm>
            <a:prstGeom prst="rect">
              <a:avLst/>
            </a:prstGeom>
            <a:noFill/>
            <a:ln>
              <a:noFill/>
            </a:ln>
            <a:effectLst/>
            <a:extLst/>
          </p:spPr>
          <p:txBody>
            <a:bodyPr lIns="0" tIns="0" rIns="0" bIns="0">
              <a:spAutoFit/>
              <a:scene3d>
                <a:camera prst="orthographicFront"/>
                <a:lightRig rig="soft" dir="t">
                  <a:rot lat="0" lon="0" rev="10800000"/>
                </a:lightRig>
              </a:scene3d>
              <a:sp3d>
                <a:bevelT w="27940" h="12700"/>
                <a:contourClr>
                  <a:srgbClr val="DDDDDD"/>
                </a:contourClr>
              </a:sp3d>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eaLnBrk="0" hangingPunct="0">
                <a:defRPr/>
              </a:pPr>
              <a:r>
                <a:rPr lang="en-US" altLang="zh-CN" b="1" i="1" spc="150" dirty="0">
                  <a:ln w="11430"/>
                  <a:solidFill>
                    <a:srgbClr val="F8F8F8"/>
                  </a:solidFill>
                  <a:effectLst>
                    <a:outerShdw blurRad="25400" algn="tl" rotWithShape="0">
                      <a:srgbClr val="000000">
                        <a:alpha val="43000"/>
                      </a:srgbClr>
                    </a:outerShdw>
                  </a:effectLst>
                  <a:latin typeface="微软雅黑" panose="020B0503020204020204" pitchFamily="34" charset="-122"/>
                  <a:ea typeface="微软雅黑" panose="020B0503020204020204" pitchFamily="34" charset="-122"/>
                </a:rPr>
                <a:t>2014</a:t>
              </a:r>
              <a:endParaRPr lang="zh-CN" altLang="en-US" b="1" i="1" spc="150" dirty="0">
                <a:ln w="11430"/>
                <a:solidFill>
                  <a:srgbClr val="F8F8F8"/>
                </a:solidFill>
                <a:effectLst>
                  <a:outerShdw blurRad="25400" algn="tl" rotWithShape="0">
                    <a:srgbClr val="000000">
                      <a:alpha val="43000"/>
                    </a:srgbClr>
                  </a:outerShdw>
                </a:effectLst>
                <a:latin typeface="微软雅黑" panose="020B0503020204020204" pitchFamily="34" charset="-122"/>
                <a:ea typeface="微软雅黑" panose="020B0503020204020204" pitchFamily="34" charset="-122"/>
              </a:endParaRPr>
            </a:p>
          </p:txBody>
        </p:sp>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70771" y="1849388"/>
              <a:ext cx="11017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文本占位符 1"/>
            <p:cNvSpPr txBox="1">
              <a:spLocks/>
            </p:cNvSpPr>
            <p:nvPr/>
          </p:nvSpPr>
          <p:spPr>
            <a:xfrm>
              <a:off x="3466727" y="1904721"/>
              <a:ext cx="1201019" cy="286232"/>
            </a:xfrm>
            <a:prstGeom prst="rect">
              <a:avLst/>
            </a:prstGeom>
            <a:noFill/>
            <a:ln>
              <a:noFill/>
            </a:ln>
            <a:effectLst/>
            <a:extLst/>
          </p:spPr>
          <p:txBody>
            <a:bodyPr lIns="0" tIns="0" rIns="0" bIns="0">
              <a:spAutoFit/>
              <a:scene3d>
                <a:camera prst="orthographicFront"/>
                <a:lightRig rig="soft" dir="t">
                  <a:rot lat="0" lon="0" rev="10800000"/>
                </a:lightRig>
              </a:scene3d>
              <a:sp3d>
                <a:bevelT w="27940" h="12700"/>
                <a:contourClr>
                  <a:srgbClr val="DDDDDD"/>
                </a:contourClr>
              </a:sp3d>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eaLnBrk="0" hangingPunct="0">
                <a:defRPr/>
              </a:pPr>
              <a:r>
                <a:rPr lang="en-US" altLang="zh-CN" b="1" i="1" spc="150" dirty="0">
                  <a:ln w="11430"/>
                  <a:solidFill>
                    <a:srgbClr val="F8F8F8"/>
                  </a:solidFill>
                  <a:effectLst>
                    <a:outerShdw blurRad="25400" algn="tl" rotWithShape="0">
                      <a:srgbClr val="000000">
                        <a:alpha val="43000"/>
                      </a:srgbClr>
                    </a:outerShdw>
                  </a:effectLst>
                  <a:latin typeface="微软雅黑" panose="020B0503020204020204" pitchFamily="34" charset="-122"/>
                  <a:ea typeface="微软雅黑" panose="020B0503020204020204" pitchFamily="34" charset="-122"/>
                </a:rPr>
                <a:t>2015</a:t>
              </a:r>
              <a:endParaRPr lang="zh-CN" altLang="en-US" b="1" i="1" spc="150" dirty="0">
                <a:ln w="11430"/>
                <a:solidFill>
                  <a:srgbClr val="F8F8F8"/>
                </a:solidFill>
                <a:effectLst>
                  <a:outerShdw blurRad="25400" algn="tl" rotWithShape="0">
                    <a:srgbClr val="000000">
                      <a:alpha val="43000"/>
                    </a:srgbClr>
                  </a:outerShdw>
                </a:effectLst>
                <a:latin typeface="微软雅黑" panose="020B0503020204020204" pitchFamily="34" charset="-122"/>
                <a:ea typeface="微软雅黑" panose="020B0503020204020204" pitchFamily="34" charset="-122"/>
              </a:endParaRPr>
            </a:p>
          </p:txBody>
        </p:sp>
        <p:pic>
          <p:nvPicPr>
            <p:cNvPr id="2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99496" y="1849388"/>
              <a:ext cx="11398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文本占位符 1"/>
            <p:cNvSpPr txBox="1">
              <a:spLocks/>
            </p:cNvSpPr>
            <p:nvPr/>
          </p:nvSpPr>
          <p:spPr>
            <a:xfrm>
              <a:off x="4683620" y="1904721"/>
              <a:ext cx="1155701" cy="286232"/>
            </a:xfrm>
            <a:prstGeom prst="rect">
              <a:avLst/>
            </a:prstGeom>
            <a:noFill/>
            <a:ln>
              <a:noFill/>
            </a:ln>
            <a:effectLst/>
            <a:extLst/>
          </p:spPr>
          <p:txBody>
            <a:bodyPr lIns="0" tIns="0" rIns="0" bIns="0">
              <a:spAutoFit/>
              <a:scene3d>
                <a:camera prst="orthographicFront"/>
                <a:lightRig rig="soft" dir="t">
                  <a:rot lat="0" lon="0" rev="10800000"/>
                </a:lightRig>
              </a:scene3d>
              <a:sp3d>
                <a:bevelT w="27940" h="12700"/>
                <a:contourClr>
                  <a:srgbClr val="DDDDDD"/>
                </a:contourClr>
              </a:sp3d>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eaLnBrk="0" hangingPunct="0">
                <a:defRPr/>
              </a:pPr>
              <a:r>
                <a:rPr lang="en-US" altLang="zh-CN" b="1" i="1" spc="150" dirty="0">
                  <a:ln w="11430"/>
                  <a:solidFill>
                    <a:srgbClr val="F8F8F8"/>
                  </a:solidFill>
                  <a:effectLst>
                    <a:outerShdw blurRad="25400" algn="tl" rotWithShape="0">
                      <a:srgbClr val="000000">
                        <a:alpha val="43000"/>
                      </a:srgbClr>
                    </a:outerShdw>
                  </a:effectLst>
                  <a:latin typeface="微软雅黑" panose="020B0503020204020204" pitchFamily="34" charset="-122"/>
                  <a:ea typeface="微软雅黑" panose="020B0503020204020204" pitchFamily="34" charset="-122"/>
                </a:rPr>
                <a:t>2016</a:t>
              </a:r>
              <a:endParaRPr lang="zh-CN" altLang="en-US" b="1" i="1" spc="150" dirty="0">
                <a:ln w="11430"/>
                <a:solidFill>
                  <a:srgbClr val="F8F8F8"/>
                </a:solidFill>
                <a:effectLst>
                  <a:outerShdw blurRad="25400" algn="tl" rotWithShape="0">
                    <a:srgbClr val="000000">
                      <a:alpha val="43000"/>
                    </a:srgbClr>
                  </a:outerShdw>
                </a:effectLst>
                <a:latin typeface="微软雅黑" panose="020B0503020204020204" pitchFamily="34" charset="-122"/>
                <a:ea typeface="微软雅黑" panose="020B0503020204020204" pitchFamily="34" charset="-122"/>
              </a:endParaRPr>
            </a:p>
          </p:txBody>
        </p:sp>
        <p:pic>
          <p:nvPicPr>
            <p:cNvPr id="2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85371" y="1849388"/>
              <a:ext cx="11398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文本占位符 1"/>
            <p:cNvSpPr txBox="1">
              <a:spLocks/>
            </p:cNvSpPr>
            <p:nvPr/>
          </p:nvSpPr>
          <p:spPr>
            <a:xfrm>
              <a:off x="5969495" y="1904721"/>
              <a:ext cx="1155701" cy="286232"/>
            </a:xfrm>
            <a:prstGeom prst="rect">
              <a:avLst/>
            </a:prstGeom>
            <a:noFill/>
            <a:ln>
              <a:noFill/>
            </a:ln>
            <a:effectLst/>
            <a:extLst/>
          </p:spPr>
          <p:txBody>
            <a:bodyPr lIns="0" tIns="0" rIns="0" bIns="0">
              <a:spAutoFit/>
              <a:scene3d>
                <a:camera prst="orthographicFront"/>
                <a:lightRig rig="soft" dir="t">
                  <a:rot lat="0" lon="0" rev="10800000"/>
                </a:lightRig>
              </a:scene3d>
              <a:sp3d>
                <a:bevelT w="27940" h="12700"/>
                <a:contourClr>
                  <a:srgbClr val="DDDDDD"/>
                </a:contourClr>
              </a:sp3d>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eaLnBrk="0" hangingPunct="0">
                <a:defRPr/>
              </a:pPr>
              <a:r>
                <a:rPr lang="en-US" altLang="zh-CN" b="1" i="1" spc="150" dirty="0">
                  <a:ln w="11430"/>
                  <a:solidFill>
                    <a:srgbClr val="F8F8F8"/>
                  </a:solidFill>
                  <a:effectLst>
                    <a:outerShdw blurRad="25400" algn="tl" rotWithShape="0">
                      <a:srgbClr val="000000">
                        <a:alpha val="43000"/>
                      </a:srgbClr>
                    </a:outerShdw>
                  </a:effectLst>
                  <a:latin typeface="微软雅黑" panose="020B0503020204020204" pitchFamily="34" charset="-122"/>
                  <a:ea typeface="微软雅黑" panose="020B0503020204020204" pitchFamily="34" charset="-122"/>
                </a:rPr>
                <a:t>2017</a:t>
              </a:r>
              <a:endParaRPr lang="zh-CN" altLang="en-US" b="1" i="1" spc="150" dirty="0">
                <a:ln w="11430"/>
                <a:solidFill>
                  <a:srgbClr val="F8F8F8"/>
                </a:solidFill>
                <a:effectLst>
                  <a:outerShdw blurRad="25400" algn="tl" rotWithShape="0">
                    <a:srgbClr val="000000">
                      <a:alpha val="43000"/>
                    </a:srgbClr>
                  </a:outerShdw>
                </a:effectLst>
                <a:latin typeface="微软雅黑" panose="020B0503020204020204" pitchFamily="34" charset="-122"/>
                <a:ea typeface="微软雅黑" panose="020B0503020204020204" pitchFamily="34" charset="-122"/>
              </a:endParaRPr>
            </a:p>
          </p:txBody>
        </p:sp>
        <p:pic>
          <p:nvPicPr>
            <p:cNvPr id="2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42671" y="1849388"/>
              <a:ext cx="11398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文本占位符 1"/>
            <p:cNvSpPr txBox="1">
              <a:spLocks/>
            </p:cNvSpPr>
            <p:nvPr/>
          </p:nvSpPr>
          <p:spPr>
            <a:xfrm>
              <a:off x="7226795" y="1904721"/>
              <a:ext cx="1155701" cy="286232"/>
            </a:xfrm>
            <a:prstGeom prst="rect">
              <a:avLst/>
            </a:prstGeom>
            <a:noFill/>
            <a:ln>
              <a:noFill/>
            </a:ln>
            <a:effectLst/>
            <a:extLst/>
          </p:spPr>
          <p:txBody>
            <a:bodyPr lIns="0" tIns="0" rIns="0" bIns="0">
              <a:spAutoFit/>
              <a:scene3d>
                <a:camera prst="orthographicFront"/>
                <a:lightRig rig="soft" dir="t">
                  <a:rot lat="0" lon="0" rev="10800000"/>
                </a:lightRig>
              </a:scene3d>
              <a:sp3d>
                <a:bevelT w="27940" h="12700"/>
                <a:contourClr>
                  <a:srgbClr val="DDDDDD"/>
                </a:contourClr>
              </a:sp3d>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eaLnBrk="0" hangingPunct="0">
                <a:defRPr/>
              </a:pPr>
              <a:r>
                <a:rPr lang="en-US" altLang="zh-CN" b="1" i="1" spc="150" dirty="0">
                  <a:ln w="11430"/>
                  <a:solidFill>
                    <a:srgbClr val="F8F8F8"/>
                  </a:solidFill>
                  <a:effectLst>
                    <a:outerShdw blurRad="25400" algn="tl" rotWithShape="0">
                      <a:srgbClr val="000000">
                        <a:alpha val="43000"/>
                      </a:srgbClr>
                    </a:outerShdw>
                  </a:effectLst>
                  <a:latin typeface="微软雅黑" panose="020B0503020204020204" pitchFamily="34" charset="-122"/>
                  <a:ea typeface="微软雅黑" panose="020B0503020204020204" pitchFamily="34" charset="-122"/>
                </a:rPr>
                <a:t>2018</a:t>
              </a:r>
              <a:endParaRPr lang="zh-CN" altLang="en-US" b="1" i="1" spc="150" dirty="0">
                <a:ln w="11430"/>
                <a:solidFill>
                  <a:srgbClr val="F8F8F8"/>
                </a:solidFill>
                <a:effectLst>
                  <a:outerShdw blurRad="25400" algn="tl" rotWithShape="0">
                    <a:srgbClr val="000000">
                      <a:alpha val="43000"/>
                    </a:srgbClr>
                  </a:outerShdw>
                </a:effectLst>
                <a:latin typeface="微软雅黑" panose="020B0503020204020204" pitchFamily="34" charset="-122"/>
                <a:ea typeface="微软雅黑" panose="020B0503020204020204" pitchFamily="34" charset="-122"/>
              </a:endParaRPr>
            </a:p>
          </p:txBody>
        </p:sp>
        <p:pic>
          <p:nvPicPr>
            <p:cNvPr id="205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70771" y="3077384"/>
              <a:ext cx="1104208" cy="594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4" descr="E:\DS\素材\未标题-4 副本.png"/>
            <p:cNvPicPr>
              <a:picLocks noChangeAspect="1" noChangeArrowheads="1"/>
            </p:cNvPicPr>
            <p:nvPr/>
          </p:nvPicPr>
          <p:blipFill>
            <a:blip r:embed="rId3">
              <a:lum contrast="40000"/>
              <a:extLst>
                <a:ext uri="{28A0092B-C50C-407E-A947-70E740481C1C}">
                  <a14:useLocalDpi xmlns:a14="http://schemas.microsoft.com/office/drawing/2010/main" val="0"/>
                </a:ext>
              </a:extLst>
            </a:blip>
            <a:srcRect/>
            <a:stretch>
              <a:fillRect/>
            </a:stretch>
          </p:blipFill>
          <p:spPr bwMode="auto">
            <a:xfrm>
              <a:off x="7226795" y="3819773"/>
              <a:ext cx="1144587" cy="1490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2830" y="3652713"/>
              <a:ext cx="11398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文本占位符 1"/>
            <p:cNvSpPr txBox="1">
              <a:spLocks/>
            </p:cNvSpPr>
            <p:nvPr/>
          </p:nvSpPr>
          <p:spPr>
            <a:xfrm>
              <a:off x="7216954" y="3708046"/>
              <a:ext cx="1155701" cy="286232"/>
            </a:xfrm>
            <a:prstGeom prst="rect">
              <a:avLst/>
            </a:prstGeom>
            <a:noFill/>
            <a:ln>
              <a:noFill/>
            </a:ln>
            <a:effectLst/>
            <a:extLst/>
          </p:spPr>
          <p:txBody>
            <a:bodyPr lIns="0" tIns="0" rIns="0" bIns="0">
              <a:spAutoFit/>
              <a:scene3d>
                <a:camera prst="orthographicFront"/>
                <a:lightRig rig="soft" dir="t">
                  <a:rot lat="0" lon="0" rev="10800000"/>
                </a:lightRig>
              </a:scene3d>
              <a:sp3d>
                <a:bevelT w="27940" h="12700"/>
                <a:contourClr>
                  <a:srgbClr val="DDDDDD"/>
                </a:contourClr>
              </a:sp3d>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eaLnBrk="0" hangingPunct="0">
                <a:defRPr/>
              </a:pPr>
              <a:r>
                <a:rPr lang="en-US" altLang="zh-CN" b="1" i="1" spc="150" dirty="0">
                  <a:ln w="11430"/>
                  <a:solidFill>
                    <a:srgbClr val="F8F8F8"/>
                  </a:solidFill>
                  <a:effectLst>
                    <a:outerShdw blurRad="25400" algn="tl" rotWithShape="0">
                      <a:srgbClr val="000000">
                        <a:alpha val="43000"/>
                      </a:srgbClr>
                    </a:outerShdw>
                  </a:effectLst>
                  <a:latin typeface="微软雅黑" panose="020B0503020204020204" pitchFamily="34" charset="-122"/>
                  <a:ea typeface="微软雅黑" panose="020B0503020204020204" pitchFamily="34" charset="-122"/>
                </a:rPr>
                <a:t>2019</a:t>
              </a:r>
              <a:endParaRPr lang="zh-CN" altLang="en-US" b="1" i="1" spc="150" dirty="0">
                <a:ln w="11430"/>
                <a:solidFill>
                  <a:srgbClr val="F8F8F8"/>
                </a:solidFill>
                <a:effectLst>
                  <a:outerShdw blurRad="25400" algn="tl" rotWithShape="0">
                    <a:srgbClr val="000000">
                      <a:alpha val="43000"/>
                    </a:srgbClr>
                  </a:outerShdw>
                </a:effectLst>
                <a:latin typeface="微软雅黑" panose="020B0503020204020204" pitchFamily="34" charset="-122"/>
                <a:ea typeface="微软雅黑" panose="020B0503020204020204" pitchFamily="34" charset="-122"/>
              </a:endParaRPr>
            </a:p>
          </p:txBody>
        </p:sp>
        <p:pic>
          <p:nvPicPr>
            <p:cNvPr id="31" name="Picture 36"/>
            <p:cNvPicPr>
              <a:picLocks noChangeAspect="1" noChangeArrowheads="1"/>
            </p:cNvPicPr>
            <p:nvPr/>
          </p:nvPicPr>
          <p:blipFill>
            <a:blip r:embed="rId6">
              <a:extLst>
                <a:ext uri="{28A0092B-C50C-407E-A947-70E740481C1C}">
                  <a14:useLocalDpi xmlns:a14="http://schemas.microsoft.com/office/drawing/2010/main" val="0"/>
                </a:ext>
              </a:extLst>
            </a:blip>
            <a:srcRect l="21706"/>
            <a:stretch>
              <a:fillRect/>
            </a:stretch>
          </p:blipFill>
          <p:spPr bwMode="auto">
            <a:xfrm>
              <a:off x="827584" y="3391022"/>
              <a:ext cx="1217612" cy="6937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 name="文本占位符 1"/>
            <p:cNvSpPr txBox="1">
              <a:spLocks/>
            </p:cNvSpPr>
            <p:nvPr/>
          </p:nvSpPr>
          <p:spPr bwMode="auto">
            <a:xfrm>
              <a:off x="867241" y="2572593"/>
              <a:ext cx="738985" cy="17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lnSpc>
                  <a:spcPct val="93000"/>
                </a:lnSpc>
                <a:buFont typeface="Arial" pitchFamily="34" charset="0"/>
                <a:buNone/>
              </a:pPr>
              <a:r>
                <a:rPr lang="en-US" altLang="zh-CN" sz="1200" i="1" dirty="0">
                  <a:solidFill>
                    <a:schemeClr val="accent6">
                      <a:lumMod val="50000"/>
                    </a:schemeClr>
                  </a:solidFill>
                  <a:latin typeface="微软雅黑" pitchFamily="34" charset="-122"/>
                  <a:ea typeface="微软雅黑" pitchFamily="34" charset="-122"/>
                </a:rPr>
                <a:t>&gt; </a:t>
              </a:r>
              <a:r>
                <a:rPr lang="zh-CN" altLang="en-US" sz="1200" i="1" dirty="0">
                  <a:solidFill>
                    <a:schemeClr val="accent6">
                      <a:lumMod val="50000"/>
                    </a:schemeClr>
                  </a:solidFill>
                  <a:latin typeface="微软雅黑" pitchFamily="34" charset="-122"/>
                  <a:ea typeface="微软雅黑" pitchFamily="34" charset="-122"/>
                </a:rPr>
                <a:t>九月</a:t>
              </a:r>
              <a:r>
                <a:rPr lang="en-US" altLang="zh-CN" sz="1200" i="1" dirty="0">
                  <a:solidFill>
                    <a:schemeClr val="accent6">
                      <a:lumMod val="50000"/>
                    </a:schemeClr>
                  </a:solidFill>
                  <a:latin typeface="微软雅黑" pitchFamily="34" charset="-122"/>
                  <a:ea typeface="微软雅黑" pitchFamily="34" charset="-122"/>
                </a:rPr>
                <a:t>Sep</a:t>
              </a:r>
              <a:endParaRPr lang="zh-CN" altLang="en-US" sz="1200" b="1" i="1" dirty="0">
                <a:solidFill>
                  <a:schemeClr val="accent6">
                    <a:lumMod val="50000"/>
                  </a:schemeClr>
                </a:solidFill>
                <a:latin typeface="微软雅黑" pitchFamily="34" charset="-122"/>
                <a:ea typeface="微软雅黑" pitchFamily="34" charset="-122"/>
                <a:cs typeface="汉仪中等线简" pitchFamily="49" charset="-122"/>
              </a:endParaRPr>
            </a:p>
          </p:txBody>
        </p:sp>
        <p:sp>
          <p:nvSpPr>
            <p:cNvPr id="33" name="文本占位符 1"/>
            <p:cNvSpPr txBox="1">
              <a:spLocks/>
            </p:cNvSpPr>
            <p:nvPr/>
          </p:nvSpPr>
          <p:spPr bwMode="auto">
            <a:xfrm>
              <a:off x="867241" y="4393161"/>
              <a:ext cx="900888" cy="17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lnSpc>
                  <a:spcPct val="93000"/>
                </a:lnSpc>
                <a:buFont typeface="Arial" pitchFamily="34" charset="0"/>
                <a:buNone/>
              </a:pPr>
              <a:r>
                <a:rPr lang="en-US" altLang="zh-CN" sz="1200" i="1" dirty="0">
                  <a:solidFill>
                    <a:schemeClr val="accent6">
                      <a:lumMod val="50000"/>
                    </a:schemeClr>
                  </a:solidFill>
                  <a:latin typeface="微软雅黑" pitchFamily="34" charset="-122"/>
                  <a:ea typeface="微软雅黑" pitchFamily="34" charset="-122"/>
                </a:rPr>
                <a:t>&gt; </a:t>
              </a:r>
              <a:r>
                <a:rPr lang="zh-CN" altLang="en-US" sz="1200" i="1" dirty="0">
                  <a:solidFill>
                    <a:schemeClr val="accent6">
                      <a:lumMod val="50000"/>
                    </a:schemeClr>
                  </a:solidFill>
                  <a:latin typeface="微软雅黑" pitchFamily="34" charset="-122"/>
                  <a:ea typeface="微软雅黑" pitchFamily="34" charset="-122"/>
                </a:rPr>
                <a:t>十二月</a:t>
              </a:r>
              <a:r>
                <a:rPr lang="en-US" altLang="zh-CN" sz="1200" i="1" dirty="0">
                  <a:solidFill>
                    <a:schemeClr val="accent6">
                      <a:lumMod val="50000"/>
                    </a:schemeClr>
                  </a:solidFill>
                  <a:latin typeface="微软雅黑" pitchFamily="34" charset="-122"/>
                  <a:ea typeface="微软雅黑" pitchFamily="34" charset="-122"/>
                </a:rPr>
                <a:t>Dec</a:t>
              </a:r>
              <a:endParaRPr lang="zh-CN" altLang="en-US" sz="1200" b="1" i="1" dirty="0">
                <a:solidFill>
                  <a:schemeClr val="accent6">
                    <a:lumMod val="50000"/>
                  </a:schemeClr>
                </a:solidFill>
                <a:latin typeface="微软雅黑" pitchFamily="34" charset="-122"/>
                <a:ea typeface="微软雅黑" pitchFamily="34" charset="-122"/>
                <a:cs typeface="汉仪中等线简" pitchFamily="49" charset="-122"/>
              </a:endParaRPr>
            </a:p>
          </p:txBody>
        </p:sp>
        <p:sp>
          <p:nvSpPr>
            <p:cNvPr id="34" name="文本占位符 1"/>
            <p:cNvSpPr txBox="1">
              <a:spLocks/>
            </p:cNvSpPr>
            <p:nvPr/>
          </p:nvSpPr>
          <p:spPr>
            <a:xfrm>
              <a:off x="991481" y="2849277"/>
              <a:ext cx="1053715" cy="507831"/>
            </a:xfrm>
            <a:prstGeom prst="rect">
              <a:avLst/>
            </a:prstGeom>
            <a:noFill/>
            <a:ln>
              <a:noFill/>
            </a:ln>
            <a:effectLst/>
            <a:extLst/>
          </p:spPr>
          <p:txBody>
            <a:bodyPr wrap="square" lIns="0" tIns="0" rIns="0" bIns="0">
              <a:spAutoFit/>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algn="l" eaLnBrk="0" hangingPunct="0">
                <a:lnSpc>
                  <a:spcPct val="150000"/>
                </a:lnSpc>
                <a:defRPr/>
              </a:pPr>
              <a:r>
                <a:rPr lang="zh-CN" altLang="en-US" sz="1100" dirty="0">
                  <a:latin typeface="微软雅黑" panose="020B0503020204020204" pitchFamily="34" charset="-122"/>
                  <a:ea typeface="微软雅黑" panose="020B0503020204020204" pitchFamily="34" charset="-122"/>
                </a:rPr>
                <a:t>全新</a:t>
              </a:r>
              <a:r>
                <a:rPr lang="en-US" altLang="zh-CN" sz="1100" dirty="0">
                  <a:latin typeface="微软雅黑" panose="020B0503020204020204" pitchFamily="34" charset="-122"/>
                  <a:ea typeface="微软雅黑" panose="020B0503020204020204" pitchFamily="34" charset="-122"/>
                </a:rPr>
                <a:t>DS5</a:t>
              </a:r>
            </a:p>
            <a:p>
              <a:pPr algn="l" eaLnBrk="0" hangingPunct="0">
                <a:lnSpc>
                  <a:spcPct val="150000"/>
                </a:lnSpc>
                <a:defRPr/>
              </a:pPr>
              <a:r>
                <a:rPr lang="en-US" altLang="zh-CN" sz="1100" dirty="0">
                  <a:latin typeface="微软雅黑" panose="020B0503020204020204" pitchFamily="34" charset="-122"/>
                  <a:ea typeface="微软雅黑" panose="020B0503020204020204" pitchFamily="34" charset="-122"/>
                </a:rPr>
                <a:t>All New DS5</a:t>
              </a:r>
              <a:endParaRPr lang="zh-CN" altLang="en-US" sz="1100" dirty="0">
                <a:latin typeface="微软雅黑" panose="020B0503020204020204" pitchFamily="34" charset="-122"/>
                <a:ea typeface="微软雅黑" panose="020B0503020204020204" pitchFamily="34" charset="-122"/>
              </a:endParaRPr>
            </a:p>
          </p:txBody>
        </p:sp>
        <p:sp>
          <p:nvSpPr>
            <p:cNvPr id="35" name="文本占位符 1"/>
            <p:cNvSpPr txBox="1">
              <a:spLocks/>
            </p:cNvSpPr>
            <p:nvPr/>
          </p:nvSpPr>
          <p:spPr>
            <a:xfrm>
              <a:off x="827584" y="4660825"/>
              <a:ext cx="1226972" cy="507831"/>
            </a:xfrm>
            <a:prstGeom prst="rect">
              <a:avLst/>
            </a:prstGeom>
            <a:noFill/>
            <a:ln>
              <a:noFill/>
            </a:ln>
            <a:effectLst/>
            <a:extLst/>
          </p:spPr>
          <p:txBody>
            <a:bodyPr wrap="square" lIns="0" tIns="0" rIns="0" bIns="0">
              <a:spAutoFit/>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eaLnBrk="0" hangingPunct="0">
                <a:lnSpc>
                  <a:spcPct val="100000"/>
                </a:lnSpc>
                <a:defRPr/>
              </a:pPr>
              <a:r>
                <a:rPr lang="zh-CN" altLang="en-US" sz="1100" dirty="0">
                  <a:latin typeface="微软雅黑" panose="020B0503020204020204" pitchFamily="34" charset="-122"/>
                  <a:ea typeface="微软雅黑" panose="020B0503020204020204" pitchFamily="34" charset="-122"/>
                </a:rPr>
                <a:t>发动机产品</a:t>
              </a:r>
              <a:endParaRPr lang="en-US" altLang="zh-CN" sz="1100" dirty="0">
                <a:latin typeface="微软雅黑" panose="020B0503020204020204" pitchFamily="34" charset="-122"/>
                <a:ea typeface="微软雅黑" panose="020B0503020204020204" pitchFamily="34" charset="-122"/>
              </a:endParaRPr>
            </a:p>
            <a:p>
              <a:pPr eaLnBrk="0" hangingPunct="0">
                <a:lnSpc>
                  <a:spcPct val="100000"/>
                </a:lnSpc>
                <a:defRPr/>
              </a:pPr>
              <a:r>
                <a:rPr lang="en-US" altLang="zh-CN" sz="1100" dirty="0">
                  <a:latin typeface="微软雅黑" panose="020B0503020204020204" pitchFamily="34" charset="-122"/>
                  <a:ea typeface="微软雅黑" panose="020B0503020204020204" pitchFamily="34" charset="-122"/>
                </a:rPr>
                <a:t>Engine Product</a:t>
              </a:r>
            </a:p>
            <a:p>
              <a:pPr eaLnBrk="0" hangingPunct="0">
                <a:lnSpc>
                  <a:spcPct val="100000"/>
                </a:lnSpc>
                <a:defRPr/>
              </a:pPr>
              <a:r>
                <a:rPr lang="en-US" altLang="zh-CN" sz="1100" dirty="0">
                  <a:latin typeface="微软雅黑" panose="020B0503020204020204" pitchFamily="34" charset="-122"/>
                  <a:ea typeface="微软雅黑" panose="020B0503020204020204" pitchFamily="34" charset="-122"/>
                </a:rPr>
                <a:t>EP6</a:t>
              </a:r>
              <a:endParaRPr lang="zh-CN" altLang="en-US" sz="1100" dirty="0">
                <a:latin typeface="微软雅黑" panose="020B0503020204020204" pitchFamily="34" charset="-122"/>
                <a:ea typeface="微软雅黑" panose="020B0503020204020204" pitchFamily="34" charset="-122"/>
              </a:endParaRPr>
            </a:p>
          </p:txBody>
        </p:sp>
        <p:sp>
          <p:nvSpPr>
            <p:cNvPr id="36" name="文本占位符 1"/>
            <p:cNvSpPr txBox="1">
              <a:spLocks/>
            </p:cNvSpPr>
            <p:nvPr/>
          </p:nvSpPr>
          <p:spPr>
            <a:xfrm>
              <a:off x="2160332" y="2820744"/>
              <a:ext cx="1134119" cy="507831"/>
            </a:xfrm>
            <a:prstGeom prst="rect">
              <a:avLst/>
            </a:prstGeom>
            <a:noFill/>
            <a:ln>
              <a:noFill/>
            </a:ln>
            <a:effectLst/>
            <a:extLst/>
          </p:spPr>
          <p:txBody>
            <a:bodyPr wrap="square" lIns="0" tIns="0" rIns="0" bIns="0">
              <a:spAutoFit/>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eaLnBrk="0" hangingPunct="0">
                <a:lnSpc>
                  <a:spcPct val="150000"/>
                </a:lnSpc>
                <a:defRPr/>
              </a:pPr>
              <a:r>
                <a:rPr lang="zh-CN" altLang="en-US" sz="1100" dirty="0">
                  <a:latin typeface="微软雅黑" panose="020B0503020204020204" pitchFamily="34" charset="-122"/>
                  <a:ea typeface="微软雅黑" panose="020B0503020204020204" pitchFamily="34" charset="-122"/>
                </a:rPr>
                <a:t>全感官豪华轿车</a:t>
              </a:r>
              <a:endParaRPr lang="en-US" altLang="zh-CN" sz="1100" dirty="0">
                <a:latin typeface="微软雅黑" panose="020B0503020204020204" pitchFamily="34" charset="-122"/>
                <a:ea typeface="微软雅黑" panose="020B0503020204020204" pitchFamily="34" charset="-122"/>
              </a:endParaRPr>
            </a:p>
            <a:p>
              <a:pPr eaLnBrk="0" hangingPunct="0">
                <a:lnSpc>
                  <a:spcPct val="150000"/>
                </a:lnSpc>
                <a:defRPr/>
              </a:pPr>
              <a:r>
                <a:rPr lang="en-US" altLang="zh-CN" sz="1100" dirty="0">
                  <a:latin typeface="微软雅黑" panose="020B0503020204020204" pitchFamily="34" charset="-122"/>
                  <a:ea typeface="微软雅黑" panose="020B0503020204020204" pitchFamily="34" charset="-122"/>
                </a:rPr>
                <a:t>DS 5LS</a:t>
              </a:r>
              <a:endParaRPr lang="zh-CN" altLang="en-US" sz="1100" dirty="0">
                <a:latin typeface="微软雅黑" panose="020B0503020204020204" pitchFamily="34" charset="-122"/>
                <a:ea typeface="微软雅黑" panose="020B0503020204020204" pitchFamily="34" charset="-122"/>
              </a:endParaRPr>
            </a:p>
          </p:txBody>
        </p:sp>
        <p:pic>
          <p:nvPicPr>
            <p:cNvPr id="37" name="Picture 3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64107" y="3391022"/>
              <a:ext cx="1167277" cy="6937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文本占位符 1"/>
            <p:cNvSpPr txBox="1">
              <a:spLocks/>
            </p:cNvSpPr>
            <p:nvPr/>
          </p:nvSpPr>
          <p:spPr bwMode="auto">
            <a:xfrm>
              <a:off x="2203378" y="2579208"/>
              <a:ext cx="784446" cy="17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lnSpc>
                  <a:spcPct val="93000"/>
                </a:lnSpc>
                <a:buFont typeface="Arial" pitchFamily="34" charset="0"/>
                <a:buNone/>
              </a:pPr>
              <a:r>
                <a:rPr lang="en-US" altLang="zh-CN" sz="1200" i="1" dirty="0">
                  <a:solidFill>
                    <a:schemeClr val="accent6">
                      <a:lumMod val="50000"/>
                    </a:schemeClr>
                  </a:solidFill>
                  <a:latin typeface="微软雅黑" pitchFamily="34" charset="-122"/>
                  <a:ea typeface="微软雅黑" pitchFamily="34" charset="-122"/>
                </a:rPr>
                <a:t>&gt; </a:t>
              </a:r>
              <a:r>
                <a:rPr lang="zh-CN" altLang="en-US" sz="1200" i="1" dirty="0">
                  <a:solidFill>
                    <a:schemeClr val="accent6">
                      <a:lumMod val="50000"/>
                    </a:schemeClr>
                  </a:solidFill>
                  <a:latin typeface="微软雅黑" pitchFamily="34" charset="-122"/>
                  <a:ea typeface="微软雅黑" pitchFamily="34" charset="-122"/>
                </a:rPr>
                <a:t>三月</a:t>
              </a:r>
              <a:r>
                <a:rPr lang="en-US" altLang="zh-CN" sz="1200" i="1" dirty="0">
                  <a:solidFill>
                    <a:schemeClr val="accent6">
                      <a:lumMod val="50000"/>
                    </a:schemeClr>
                  </a:solidFill>
                  <a:latin typeface="微软雅黑" pitchFamily="34" charset="-122"/>
                  <a:ea typeface="微软雅黑" pitchFamily="34" charset="-122"/>
                </a:rPr>
                <a:t>Mar.</a:t>
              </a:r>
              <a:endParaRPr lang="zh-CN" altLang="en-US" sz="1200" b="1" i="1" dirty="0">
                <a:solidFill>
                  <a:schemeClr val="accent6">
                    <a:lumMod val="50000"/>
                  </a:schemeClr>
                </a:solidFill>
                <a:latin typeface="微软雅黑" pitchFamily="34" charset="-122"/>
                <a:ea typeface="微软雅黑" pitchFamily="34" charset="-122"/>
                <a:cs typeface="汉仪中等线简" pitchFamily="49" charset="-122"/>
              </a:endParaRPr>
            </a:p>
          </p:txBody>
        </p:sp>
        <p:sp>
          <p:nvSpPr>
            <p:cNvPr id="39" name="文本占位符 1"/>
            <p:cNvSpPr txBox="1">
              <a:spLocks/>
            </p:cNvSpPr>
            <p:nvPr/>
          </p:nvSpPr>
          <p:spPr>
            <a:xfrm>
              <a:off x="2232417" y="4386958"/>
              <a:ext cx="778707" cy="253916"/>
            </a:xfrm>
            <a:prstGeom prst="rect">
              <a:avLst/>
            </a:prstGeom>
            <a:noFill/>
            <a:ln>
              <a:noFill/>
            </a:ln>
            <a:effectLst/>
            <a:extLst/>
          </p:spPr>
          <p:txBody>
            <a:bodyPr wrap="square" lIns="0" tIns="0" rIns="0" bIns="0">
              <a:spAutoFit/>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eaLnBrk="0" hangingPunct="0">
                <a:lnSpc>
                  <a:spcPct val="150000"/>
                </a:lnSpc>
                <a:defRPr/>
              </a:pPr>
              <a:r>
                <a:rPr lang="en-US" altLang="zh-CN" sz="1100" dirty="0">
                  <a:latin typeface="微软雅黑" panose="020B0503020204020204" pitchFamily="34" charset="-122"/>
                  <a:ea typeface="微软雅黑" panose="020B0503020204020204" pitchFamily="34" charset="-122"/>
                </a:rPr>
                <a:t>DS 6  SUV</a:t>
              </a:r>
              <a:endParaRPr lang="zh-CN" altLang="en-US" sz="1100" dirty="0">
                <a:latin typeface="微软雅黑" panose="020B0503020204020204" pitchFamily="34" charset="-122"/>
                <a:ea typeface="微软雅黑" panose="020B0503020204020204" pitchFamily="34" charset="-122"/>
              </a:endParaRPr>
            </a:p>
          </p:txBody>
        </p:sp>
        <p:pic>
          <p:nvPicPr>
            <p:cNvPr id="40" name="Picture 44"/>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168" b="17039"/>
            <a:stretch/>
          </p:blipFill>
          <p:spPr bwMode="auto">
            <a:xfrm>
              <a:off x="2160332" y="4660825"/>
              <a:ext cx="1171051" cy="563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文本占位符 1"/>
            <p:cNvSpPr txBox="1">
              <a:spLocks/>
            </p:cNvSpPr>
            <p:nvPr/>
          </p:nvSpPr>
          <p:spPr bwMode="auto">
            <a:xfrm>
              <a:off x="2203378" y="4218739"/>
              <a:ext cx="783869" cy="17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lnSpc>
                  <a:spcPct val="93000"/>
                </a:lnSpc>
                <a:buFont typeface="Arial" pitchFamily="34" charset="0"/>
                <a:buNone/>
              </a:pPr>
              <a:r>
                <a:rPr lang="en-US" altLang="zh-CN" sz="1200" i="1" dirty="0">
                  <a:solidFill>
                    <a:schemeClr val="accent6">
                      <a:lumMod val="50000"/>
                    </a:schemeClr>
                  </a:solidFill>
                  <a:latin typeface="微软雅黑" pitchFamily="34" charset="-122"/>
                  <a:ea typeface="微软雅黑" pitchFamily="34" charset="-122"/>
                  <a:sym typeface="MS PGothic" pitchFamily="34" charset="-128"/>
                </a:rPr>
                <a:t>&gt; </a:t>
              </a:r>
              <a:r>
                <a:rPr lang="zh-CN" altLang="en-US" sz="1200" i="1" dirty="0">
                  <a:solidFill>
                    <a:schemeClr val="accent6">
                      <a:lumMod val="50000"/>
                    </a:schemeClr>
                  </a:solidFill>
                  <a:latin typeface="微软雅黑" pitchFamily="34" charset="-122"/>
                  <a:ea typeface="微软雅黑" pitchFamily="34" charset="-122"/>
                  <a:sym typeface="MS PGothic" pitchFamily="34" charset="-128"/>
                </a:rPr>
                <a:t>九月</a:t>
              </a:r>
              <a:r>
                <a:rPr lang="en-US" altLang="zh-CN" sz="1200" i="1" dirty="0">
                  <a:solidFill>
                    <a:schemeClr val="accent6">
                      <a:lumMod val="50000"/>
                    </a:schemeClr>
                  </a:solidFill>
                  <a:latin typeface="微软雅黑" pitchFamily="34" charset="-122"/>
                  <a:ea typeface="微软雅黑" pitchFamily="34" charset="-122"/>
                  <a:sym typeface="MS PGothic" pitchFamily="34" charset="-128"/>
                </a:rPr>
                <a:t>Sep</a:t>
              </a:r>
              <a:r>
                <a:rPr lang="zh-CN" altLang="en-US" sz="1200" i="1" dirty="0">
                  <a:solidFill>
                    <a:schemeClr val="accent6">
                      <a:lumMod val="50000"/>
                    </a:schemeClr>
                  </a:solidFill>
                  <a:latin typeface="微软雅黑" pitchFamily="34" charset="-122"/>
                  <a:ea typeface="微软雅黑" pitchFamily="34" charset="-122"/>
                  <a:sym typeface="MS PGothic" pitchFamily="34" charset="-128"/>
                </a:rPr>
                <a:t> </a:t>
              </a:r>
              <a:endParaRPr lang="zh-CN" altLang="en-US" sz="1200" b="1" i="1" dirty="0">
                <a:solidFill>
                  <a:schemeClr val="accent6">
                    <a:lumMod val="50000"/>
                  </a:schemeClr>
                </a:solidFill>
                <a:latin typeface="微软雅黑" pitchFamily="34" charset="-122"/>
                <a:ea typeface="微软雅黑" pitchFamily="34" charset="-122"/>
                <a:cs typeface="汉仪中等线简" pitchFamily="49" charset="-122"/>
                <a:sym typeface="MS PGothic" pitchFamily="34" charset="-128"/>
              </a:endParaRPr>
            </a:p>
          </p:txBody>
        </p:sp>
        <p:sp>
          <p:nvSpPr>
            <p:cNvPr id="42" name="文本占位符 1"/>
            <p:cNvSpPr txBox="1">
              <a:spLocks/>
            </p:cNvSpPr>
            <p:nvPr/>
          </p:nvSpPr>
          <p:spPr>
            <a:xfrm>
              <a:off x="3512805" y="4012753"/>
              <a:ext cx="854087" cy="157415"/>
            </a:xfrm>
            <a:prstGeom prst="rect">
              <a:avLst/>
            </a:prstGeom>
            <a:noFill/>
            <a:ln>
              <a:noFill/>
            </a:ln>
            <a:effectLst/>
            <a:extLst/>
          </p:spPr>
          <p:txBody>
            <a:bodyPr wrap="square" lIns="0" tIns="0" rIns="0" bIns="0">
              <a:spAutoFit/>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eaLnBrk="0" hangingPunct="0">
                <a:defRPr/>
              </a:pPr>
              <a:r>
                <a:rPr lang="zh-CN" altLang="en-US" sz="1100" dirty="0">
                  <a:latin typeface="微软雅黑" panose="020B0503020204020204" pitchFamily="34" charset="-122"/>
                  <a:ea typeface="微软雅黑" panose="020B0503020204020204" pitchFamily="34" charset="-122"/>
                </a:rPr>
                <a:t>新 </a:t>
              </a:r>
              <a:r>
                <a:rPr lang="en-US" altLang="zh-CN" sz="1100" dirty="0">
                  <a:latin typeface="微软雅黑" panose="020B0503020204020204" pitchFamily="34" charset="-122"/>
                  <a:ea typeface="微软雅黑" panose="020B0503020204020204" pitchFamily="34" charset="-122"/>
                </a:rPr>
                <a:t>DS 5</a:t>
              </a:r>
              <a:endParaRPr lang="zh-CN" altLang="en-US" sz="1100" dirty="0">
                <a:latin typeface="微软雅黑" panose="020B0503020204020204" pitchFamily="34" charset="-122"/>
                <a:ea typeface="微软雅黑" panose="020B0503020204020204" pitchFamily="34" charset="-122"/>
              </a:endParaRPr>
            </a:p>
          </p:txBody>
        </p:sp>
        <p:sp>
          <p:nvSpPr>
            <p:cNvPr id="43" name="文本占位符 1"/>
            <p:cNvSpPr txBox="1">
              <a:spLocks/>
            </p:cNvSpPr>
            <p:nvPr/>
          </p:nvSpPr>
          <p:spPr>
            <a:xfrm>
              <a:off x="3433616" y="2716609"/>
              <a:ext cx="1141364" cy="286232"/>
            </a:xfrm>
            <a:prstGeom prst="rect">
              <a:avLst/>
            </a:prstGeom>
            <a:noFill/>
            <a:ln>
              <a:noFill/>
            </a:ln>
            <a:effectLst/>
            <a:extLst/>
          </p:spPr>
          <p:txBody>
            <a:bodyPr wrap="square" lIns="0" tIns="0" rIns="0" bIns="0">
              <a:spAutoFit/>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eaLnBrk="0" hangingPunct="0">
                <a:defRPr/>
              </a:pPr>
              <a:r>
                <a:rPr lang="en-US" altLang="zh-CN" sz="1000" dirty="0">
                  <a:latin typeface="微软雅黑" panose="020B0503020204020204" pitchFamily="34" charset="-122"/>
                  <a:ea typeface="微软雅黑" panose="020B0503020204020204" pitchFamily="34" charset="-122"/>
                </a:rPr>
                <a:t>C206 </a:t>
              </a:r>
              <a:r>
                <a:rPr lang="zh-CN" altLang="en-US" sz="1000" dirty="0">
                  <a:latin typeface="微软雅黑" panose="020B0503020204020204" pitchFamily="34" charset="-122"/>
                  <a:ea typeface="微软雅黑" panose="020B0503020204020204" pitchFamily="34" charset="-122"/>
                </a:rPr>
                <a:t>电动车</a:t>
              </a:r>
              <a:endParaRPr lang="en-US" altLang="zh-CN" sz="1000" dirty="0">
                <a:latin typeface="微软雅黑" panose="020B0503020204020204" pitchFamily="34" charset="-122"/>
                <a:ea typeface="微软雅黑" panose="020B0503020204020204" pitchFamily="34" charset="-122"/>
              </a:endParaRPr>
            </a:p>
            <a:p>
              <a:pPr eaLnBrk="0" hangingPunct="0">
                <a:defRPr/>
              </a:pPr>
              <a:r>
                <a:rPr lang="en-US" altLang="zh-CN" sz="1000" dirty="0">
                  <a:latin typeface="微软雅黑" panose="020B0503020204020204" pitchFamily="34" charset="-122"/>
                  <a:ea typeface="微软雅黑" panose="020B0503020204020204" pitchFamily="34" charset="-122"/>
                </a:rPr>
                <a:t>C206 electrical car</a:t>
              </a:r>
              <a:endParaRPr lang="zh-CN" altLang="en-US" sz="1000" dirty="0">
                <a:latin typeface="微软雅黑" panose="020B0503020204020204" pitchFamily="34" charset="-122"/>
                <a:ea typeface="微软雅黑" panose="020B0503020204020204" pitchFamily="34" charset="-122"/>
              </a:endParaRPr>
            </a:p>
          </p:txBody>
        </p:sp>
        <p:sp>
          <p:nvSpPr>
            <p:cNvPr id="44" name="文本占位符 1"/>
            <p:cNvSpPr txBox="1">
              <a:spLocks/>
            </p:cNvSpPr>
            <p:nvPr/>
          </p:nvSpPr>
          <p:spPr>
            <a:xfrm>
              <a:off x="3464735" y="4876849"/>
              <a:ext cx="1106487" cy="314830"/>
            </a:xfrm>
            <a:prstGeom prst="rect">
              <a:avLst/>
            </a:prstGeom>
            <a:noFill/>
            <a:ln>
              <a:noFill/>
            </a:ln>
            <a:effectLst/>
            <a:extLst/>
          </p:spPr>
          <p:txBody>
            <a:bodyPr lIns="0" tIns="0" rIns="0" bIns="0">
              <a:spAutoFit/>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eaLnBrk="0" hangingPunct="0">
                <a:defRPr/>
              </a:pPr>
              <a:r>
                <a:rPr lang="zh-CN" altLang="en-US" sz="1100" b="1" dirty="0">
                  <a:gradFill flip="none" rotWithShape="1">
                    <a:gsLst>
                      <a:gs pos="0">
                        <a:srgbClr val="000000">
                          <a:lumMod val="75000"/>
                          <a:lumOff val="25000"/>
                          <a:shade val="30000"/>
                          <a:satMod val="115000"/>
                        </a:srgbClr>
                      </a:gs>
                      <a:gs pos="50000">
                        <a:srgbClr val="000000">
                          <a:lumMod val="75000"/>
                          <a:lumOff val="25000"/>
                          <a:shade val="67500"/>
                          <a:satMod val="115000"/>
                        </a:srgbClr>
                      </a:gs>
                      <a:gs pos="100000">
                        <a:srgbClr val="000000">
                          <a:lumMod val="75000"/>
                          <a:lumOff val="25000"/>
                          <a:shade val="100000"/>
                          <a:satMod val="115000"/>
                        </a:srgbClr>
                      </a:gs>
                    </a:gsLst>
                    <a:lin ang="5400000" scaled="1"/>
                    <a:tileRect/>
                  </a:gradFill>
                  <a:latin typeface="微软雅黑" panose="020B0503020204020204" pitchFamily="34" charset="-122"/>
                  <a:ea typeface="微软雅黑" panose="020B0503020204020204" pitchFamily="34" charset="-122"/>
                </a:rPr>
                <a:t>发动机产品</a:t>
              </a:r>
              <a:endParaRPr lang="en-US" altLang="zh-CN" sz="1100" b="1" dirty="0">
                <a:gradFill flip="none" rotWithShape="1">
                  <a:gsLst>
                    <a:gs pos="0">
                      <a:srgbClr val="000000">
                        <a:lumMod val="75000"/>
                        <a:lumOff val="25000"/>
                        <a:shade val="30000"/>
                        <a:satMod val="115000"/>
                      </a:srgbClr>
                    </a:gs>
                    <a:gs pos="50000">
                      <a:srgbClr val="000000">
                        <a:lumMod val="75000"/>
                        <a:lumOff val="25000"/>
                        <a:shade val="67500"/>
                        <a:satMod val="115000"/>
                      </a:srgbClr>
                    </a:gs>
                    <a:gs pos="100000">
                      <a:srgbClr val="000000">
                        <a:lumMod val="75000"/>
                        <a:lumOff val="25000"/>
                        <a:shade val="100000"/>
                        <a:satMod val="115000"/>
                      </a:srgbClr>
                    </a:gs>
                  </a:gsLst>
                  <a:lin ang="5400000" scaled="1"/>
                  <a:tileRect/>
                </a:gradFill>
                <a:latin typeface="微软雅黑" panose="020B0503020204020204" pitchFamily="34" charset="-122"/>
                <a:ea typeface="微软雅黑" panose="020B0503020204020204" pitchFamily="34" charset="-122"/>
              </a:endParaRPr>
            </a:p>
            <a:p>
              <a:pPr eaLnBrk="0" hangingPunct="0">
                <a:defRPr/>
              </a:pPr>
              <a:r>
                <a:rPr lang="en-US" altLang="zh-CN" sz="1100" b="1" dirty="0">
                  <a:gradFill flip="none" rotWithShape="1">
                    <a:gsLst>
                      <a:gs pos="0">
                        <a:srgbClr val="000000">
                          <a:lumMod val="75000"/>
                          <a:lumOff val="25000"/>
                          <a:shade val="30000"/>
                          <a:satMod val="115000"/>
                        </a:srgbClr>
                      </a:gs>
                      <a:gs pos="50000">
                        <a:srgbClr val="000000">
                          <a:lumMod val="75000"/>
                          <a:lumOff val="25000"/>
                          <a:shade val="67500"/>
                          <a:satMod val="115000"/>
                        </a:srgbClr>
                      </a:gs>
                      <a:gs pos="100000">
                        <a:srgbClr val="000000">
                          <a:lumMod val="75000"/>
                          <a:lumOff val="25000"/>
                          <a:shade val="100000"/>
                          <a:satMod val="115000"/>
                        </a:srgbClr>
                      </a:gs>
                    </a:gsLst>
                    <a:lin ang="5400000" scaled="1"/>
                    <a:tileRect/>
                  </a:gradFill>
                  <a:latin typeface="微软雅黑" panose="020B0503020204020204" pitchFamily="34" charset="-122"/>
                  <a:ea typeface="微软雅黑" panose="020B0503020204020204" pitchFamily="34" charset="-122"/>
                </a:rPr>
                <a:t>EP8</a:t>
              </a:r>
              <a:endParaRPr lang="zh-CN" altLang="en-US" sz="1100" b="1" dirty="0">
                <a:gradFill flip="none" rotWithShape="1">
                  <a:gsLst>
                    <a:gs pos="0">
                      <a:srgbClr val="000000">
                        <a:lumMod val="75000"/>
                        <a:lumOff val="25000"/>
                        <a:shade val="30000"/>
                        <a:satMod val="115000"/>
                      </a:srgbClr>
                    </a:gs>
                    <a:gs pos="50000">
                      <a:srgbClr val="000000">
                        <a:lumMod val="75000"/>
                        <a:lumOff val="25000"/>
                        <a:shade val="67500"/>
                        <a:satMod val="115000"/>
                      </a:srgbClr>
                    </a:gs>
                    <a:gs pos="100000">
                      <a:srgbClr val="000000">
                        <a:lumMod val="75000"/>
                        <a:lumOff val="25000"/>
                        <a:shade val="100000"/>
                        <a:satMod val="115000"/>
                      </a:srgbClr>
                    </a:gs>
                  </a:gsLst>
                  <a:lin ang="5400000" scaled="1"/>
                  <a:tileRect/>
                </a:gradFill>
                <a:latin typeface="微软雅黑" panose="020B0503020204020204" pitchFamily="34" charset="-122"/>
                <a:ea typeface="微软雅黑" panose="020B0503020204020204" pitchFamily="34" charset="-122"/>
              </a:endParaRPr>
            </a:p>
          </p:txBody>
        </p:sp>
        <p:sp>
          <p:nvSpPr>
            <p:cNvPr id="45" name="文本占位符 1"/>
            <p:cNvSpPr txBox="1">
              <a:spLocks/>
            </p:cNvSpPr>
            <p:nvPr/>
          </p:nvSpPr>
          <p:spPr bwMode="auto">
            <a:xfrm>
              <a:off x="3547915" y="3769031"/>
              <a:ext cx="783869" cy="17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lnSpc>
                  <a:spcPct val="93000"/>
                </a:lnSpc>
                <a:buFont typeface="Arial" pitchFamily="34" charset="0"/>
                <a:buNone/>
              </a:pPr>
              <a:r>
                <a:rPr lang="en-US" altLang="zh-CN" sz="1200" i="1" dirty="0">
                  <a:solidFill>
                    <a:schemeClr val="accent6">
                      <a:lumMod val="50000"/>
                    </a:schemeClr>
                  </a:solidFill>
                  <a:latin typeface="微软雅黑" pitchFamily="34" charset="-122"/>
                  <a:ea typeface="微软雅黑" pitchFamily="34" charset="-122"/>
                  <a:sym typeface="MS PGothic" pitchFamily="34" charset="-128"/>
                </a:rPr>
                <a:t>&gt; </a:t>
              </a:r>
              <a:r>
                <a:rPr lang="zh-CN" altLang="en-US" sz="1200" i="1" dirty="0">
                  <a:solidFill>
                    <a:schemeClr val="accent6">
                      <a:lumMod val="50000"/>
                    </a:schemeClr>
                  </a:solidFill>
                  <a:latin typeface="微软雅黑" pitchFamily="34" charset="-122"/>
                  <a:ea typeface="微软雅黑" pitchFamily="34" charset="-122"/>
                  <a:sym typeface="MS PGothic" pitchFamily="34" charset="-128"/>
                </a:rPr>
                <a:t>九月</a:t>
              </a:r>
              <a:r>
                <a:rPr lang="en-US" altLang="zh-CN" sz="1200" i="1" dirty="0">
                  <a:solidFill>
                    <a:schemeClr val="accent6">
                      <a:lumMod val="50000"/>
                    </a:schemeClr>
                  </a:solidFill>
                  <a:latin typeface="微软雅黑" pitchFamily="34" charset="-122"/>
                  <a:ea typeface="微软雅黑" pitchFamily="34" charset="-122"/>
                  <a:sym typeface="MS PGothic" pitchFamily="34" charset="-128"/>
                </a:rPr>
                <a:t>Sep</a:t>
              </a:r>
              <a:r>
                <a:rPr lang="zh-CN" altLang="en-US" sz="1200" i="1" dirty="0">
                  <a:solidFill>
                    <a:schemeClr val="accent6">
                      <a:lumMod val="50000"/>
                    </a:schemeClr>
                  </a:solidFill>
                  <a:latin typeface="微软雅黑" pitchFamily="34" charset="-122"/>
                  <a:ea typeface="微软雅黑" pitchFamily="34" charset="-122"/>
                  <a:sym typeface="MS PGothic" pitchFamily="34" charset="-128"/>
                </a:rPr>
                <a:t> </a:t>
              </a:r>
              <a:endParaRPr lang="zh-CN" altLang="en-US" sz="1200" b="1" i="1" dirty="0">
                <a:solidFill>
                  <a:schemeClr val="accent6">
                    <a:lumMod val="50000"/>
                  </a:schemeClr>
                </a:solidFill>
                <a:latin typeface="微软雅黑" pitchFamily="34" charset="-122"/>
                <a:ea typeface="微软雅黑" pitchFamily="34" charset="-122"/>
                <a:cs typeface="汉仪中等线简" pitchFamily="49" charset="-122"/>
                <a:sym typeface="MS PGothic" pitchFamily="34" charset="-128"/>
              </a:endParaRPr>
            </a:p>
          </p:txBody>
        </p:sp>
        <p:sp>
          <p:nvSpPr>
            <p:cNvPr id="46" name="文本占位符 1"/>
            <p:cNvSpPr txBox="1">
              <a:spLocks/>
            </p:cNvSpPr>
            <p:nvPr/>
          </p:nvSpPr>
          <p:spPr bwMode="auto">
            <a:xfrm>
              <a:off x="3557439" y="2428825"/>
              <a:ext cx="784446" cy="17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lnSpc>
                  <a:spcPct val="93000"/>
                </a:lnSpc>
                <a:buFont typeface="Arial" pitchFamily="34" charset="0"/>
                <a:buNone/>
              </a:pPr>
              <a:r>
                <a:rPr lang="en-US" altLang="zh-CN" sz="1200" i="1" dirty="0">
                  <a:solidFill>
                    <a:schemeClr val="accent6">
                      <a:lumMod val="50000"/>
                    </a:schemeClr>
                  </a:solidFill>
                  <a:latin typeface="微软雅黑" pitchFamily="34" charset="-122"/>
                  <a:ea typeface="微软雅黑" pitchFamily="34" charset="-122"/>
                </a:rPr>
                <a:t>&gt; </a:t>
              </a:r>
              <a:r>
                <a:rPr lang="zh-CN" altLang="en-US" sz="1200" i="1" dirty="0">
                  <a:solidFill>
                    <a:schemeClr val="accent6">
                      <a:lumMod val="50000"/>
                    </a:schemeClr>
                  </a:solidFill>
                  <a:latin typeface="微软雅黑" pitchFamily="34" charset="-122"/>
                  <a:ea typeface="微软雅黑" pitchFamily="34" charset="-122"/>
                </a:rPr>
                <a:t>三月</a:t>
              </a:r>
              <a:r>
                <a:rPr lang="en-US" altLang="zh-CN" sz="1200" i="1" dirty="0">
                  <a:solidFill>
                    <a:schemeClr val="accent6">
                      <a:lumMod val="50000"/>
                    </a:schemeClr>
                  </a:solidFill>
                  <a:latin typeface="微软雅黑" pitchFamily="34" charset="-122"/>
                  <a:ea typeface="微软雅黑" pitchFamily="34" charset="-122"/>
                </a:rPr>
                <a:t>Mar.</a:t>
              </a:r>
              <a:endParaRPr lang="zh-CN" altLang="en-US" sz="1200" b="1" i="1" dirty="0">
                <a:solidFill>
                  <a:schemeClr val="accent6">
                    <a:lumMod val="50000"/>
                  </a:schemeClr>
                </a:solidFill>
                <a:latin typeface="微软雅黑" pitchFamily="34" charset="-122"/>
                <a:ea typeface="微软雅黑" pitchFamily="34" charset="-122"/>
                <a:cs typeface="汉仪中等线简" pitchFamily="49" charset="-122"/>
              </a:endParaRPr>
            </a:p>
          </p:txBody>
        </p:sp>
        <p:pic>
          <p:nvPicPr>
            <p:cNvPr id="47" name="Picture 6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70771" y="4228777"/>
              <a:ext cx="1104209" cy="562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mpd="sng">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8" name="文本占位符 1"/>
            <p:cNvSpPr txBox="1">
              <a:spLocks/>
            </p:cNvSpPr>
            <p:nvPr/>
          </p:nvSpPr>
          <p:spPr bwMode="auto">
            <a:xfrm>
              <a:off x="4814956" y="2761358"/>
              <a:ext cx="777457" cy="17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lnSpc>
                  <a:spcPct val="93000"/>
                </a:lnSpc>
                <a:buFont typeface="Arial" pitchFamily="34" charset="0"/>
                <a:buNone/>
              </a:pPr>
              <a:r>
                <a:rPr lang="en-US" altLang="zh-CN" sz="1200" i="1" dirty="0">
                  <a:solidFill>
                    <a:schemeClr val="accent6">
                      <a:lumMod val="50000"/>
                    </a:schemeClr>
                  </a:solidFill>
                  <a:latin typeface="微软雅黑" pitchFamily="34" charset="-122"/>
                  <a:ea typeface="微软雅黑" pitchFamily="34" charset="-122"/>
                </a:rPr>
                <a:t>&gt; </a:t>
              </a:r>
              <a:r>
                <a:rPr lang="zh-CN" altLang="en-US" sz="1200" i="1" dirty="0">
                  <a:solidFill>
                    <a:schemeClr val="accent6">
                      <a:lumMod val="50000"/>
                    </a:schemeClr>
                  </a:solidFill>
                  <a:latin typeface="微软雅黑" pitchFamily="34" charset="-122"/>
                  <a:ea typeface="微软雅黑" pitchFamily="34" charset="-122"/>
                </a:rPr>
                <a:t>四月</a:t>
              </a:r>
              <a:r>
                <a:rPr lang="en-US" altLang="zh-CN" sz="1200" i="1" dirty="0">
                  <a:solidFill>
                    <a:schemeClr val="accent6">
                      <a:lumMod val="50000"/>
                    </a:schemeClr>
                  </a:solidFill>
                  <a:latin typeface="微软雅黑" pitchFamily="34" charset="-122"/>
                  <a:ea typeface="微软雅黑" pitchFamily="34" charset="-122"/>
                </a:rPr>
                <a:t>Apr</a:t>
              </a:r>
              <a:r>
                <a:rPr lang="zh-CN" altLang="en-US" sz="1200" i="1" dirty="0">
                  <a:solidFill>
                    <a:schemeClr val="accent6">
                      <a:lumMod val="50000"/>
                    </a:schemeClr>
                  </a:solidFill>
                  <a:latin typeface="微软雅黑" pitchFamily="34" charset="-122"/>
                  <a:ea typeface="微软雅黑" pitchFamily="34" charset="-122"/>
                </a:rPr>
                <a:t> </a:t>
              </a:r>
              <a:endParaRPr lang="zh-CN" altLang="en-US" sz="1200" b="1" i="1" dirty="0">
                <a:solidFill>
                  <a:schemeClr val="accent6">
                    <a:lumMod val="50000"/>
                  </a:schemeClr>
                </a:solidFill>
                <a:latin typeface="微软雅黑" pitchFamily="34" charset="-122"/>
                <a:ea typeface="微软雅黑" pitchFamily="34" charset="-122"/>
                <a:cs typeface="汉仪中等线简" pitchFamily="49" charset="-122"/>
              </a:endParaRPr>
            </a:p>
          </p:txBody>
        </p:sp>
        <p:pic>
          <p:nvPicPr>
            <p:cNvPr id="49"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699497" y="3766531"/>
              <a:ext cx="1139824" cy="639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文本占位符 1"/>
            <p:cNvSpPr txBox="1">
              <a:spLocks/>
            </p:cNvSpPr>
            <p:nvPr/>
          </p:nvSpPr>
          <p:spPr>
            <a:xfrm>
              <a:off x="4699497" y="3137163"/>
              <a:ext cx="1123672" cy="507831"/>
            </a:xfrm>
            <a:prstGeom prst="rect">
              <a:avLst/>
            </a:prstGeom>
            <a:noFill/>
            <a:ln>
              <a:noFill/>
            </a:ln>
            <a:effectLst/>
            <a:extLst/>
          </p:spPr>
          <p:txBody>
            <a:bodyPr wrap="square" lIns="0" tIns="0" rIns="0" bIns="0">
              <a:spAutoFit/>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eaLnBrk="0" hangingPunct="0">
                <a:lnSpc>
                  <a:spcPct val="150000"/>
                </a:lnSpc>
                <a:defRPr/>
              </a:pPr>
              <a:r>
                <a:rPr lang="zh-CN" altLang="en-US" sz="1100" dirty="0">
                  <a:latin typeface="微软雅黑" panose="020B0503020204020204" pitchFamily="34" charset="-122"/>
                  <a:ea typeface="微软雅黑" panose="020B0503020204020204" pitchFamily="34" charset="-122"/>
                </a:rPr>
                <a:t>精致动感两厢车</a:t>
              </a:r>
              <a:endParaRPr lang="en-US" altLang="zh-CN" sz="1100" dirty="0">
                <a:latin typeface="微软雅黑" panose="020B0503020204020204" pitchFamily="34" charset="-122"/>
                <a:ea typeface="微软雅黑" panose="020B0503020204020204" pitchFamily="34" charset="-122"/>
              </a:endParaRPr>
            </a:p>
            <a:p>
              <a:pPr eaLnBrk="0" hangingPunct="0">
                <a:lnSpc>
                  <a:spcPct val="150000"/>
                </a:lnSpc>
                <a:defRPr/>
              </a:pPr>
              <a:r>
                <a:rPr lang="en-US" altLang="zh-CN" sz="1100" dirty="0">
                  <a:latin typeface="微软雅黑" panose="020B0503020204020204" pitchFamily="34" charset="-122"/>
                  <a:ea typeface="微软雅黑" panose="020B0503020204020204" pitchFamily="34" charset="-122"/>
                </a:rPr>
                <a:t>DS 4S</a:t>
              </a:r>
              <a:endParaRPr lang="zh-CN" altLang="en-US" sz="1100" dirty="0">
                <a:latin typeface="微软雅黑" panose="020B0503020204020204" pitchFamily="34" charset="-122"/>
                <a:ea typeface="微软雅黑" panose="020B0503020204020204" pitchFamily="34" charset="-122"/>
              </a:endParaRPr>
            </a:p>
          </p:txBody>
        </p:sp>
        <p:sp>
          <p:nvSpPr>
            <p:cNvPr id="51" name="文本占位符 1"/>
            <p:cNvSpPr txBox="1">
              <a:spLocks/>
            </p:cNvSpPr>
            <p:nvPr/>
          </p:nvSpPr>
          <p:spPr>
            <a:xfrm>
              <a:off x="5969495" y="2960077"/>
              <a:ext cx="1139825" cy="157415"/>
            </a:xfrm>
            <a:prstGeom prst="rect">
              <a:avLst/>
            </a:prstGeom>
            <a:noFill/>
            <a:ln>
              <a:noFill/>
            </a:ln>
            <a:effectLst/>
            <a:extLst/>
          </p:spPr>
          <p:txBody>
            <a:bodyPr lIns="0" tIns="0" rIns="0" bIns="0">
              <a:spAutoFit/>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eaLnBrk="0" hangingPunct="0">
                <a:defRPr/>
              </a:pPr>
              <a:r>
                <a:rPr lang="en-US" altLang="zh-CN" sz="1100" b="1" dirty="0">
                  <a:latin typeface="微软雅黑" panose="020B0503020204020204" pitchFamily="34" charset="-122"/>
                  <a:ea typeface="微软雅黑" panose="020B0503020204020204" pitchFamily="34" charset="-122"/>
                </a:rPr>
                <a:t>B753 </a:t>
              </a:r>
              <a:r>
                <a:rPr lang="zh-CN" altLang="en-US" sz="1100" b="1" dirty="0">
                  <a:latin typeface="微软雅黑" panose="020B0503020204020204" pitchFamily="34" charset="-122"/>
                  <a:ea typeface="微软雅黑" panose="020B0503020204020204" pitchFamily="34" charset="-122"/>
                </a:rPr>
                <a:t>中期改款</a:t>
              </a:r>
            </a:p>
          </p:txBody>
        </p:sp>
        <p:sp>
          <p:nvSpPr>
            <p:cNvPr id="52" name="文本占位符 1"/>
            <p:cNvSpPr txBox="1">
              <a:spLocks/>
            </p:cNvSpPr>
            <p:nvPr/>
          </p:nvSpPr>
          <p:spPr>
            <a:xfrm>
              <a:off x="5969495" y="4400237"/>
              <a:ext cx="1139825" cy="157415"/>
            </a:xfrm>
            <a:prstGeom prst="rect">
              <a:avLst/>
            </a:prstGeom>
            <a:noFill/>
            <a:ln>
              <a:noFill/>
            </a:ln>
            <a:effectLst/>
            <a:extLst/>
          </p:spPr>
          <p:txBody>
            <a:bodyPr lIns="0" tIns="0" rIns="0" bIns="0">
              <a:spAutoFit/>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eaLnBrk="0" hangingPunct="0">
                <a:defRPr/>
              </a:pPr>
              <a:r>
                <a:rPr lang="en-US" altLang="zh-CN" sz="1100" b="1" dirty="0">
                  <a:latin typeface="微软雅黑" panose="020B0503020204020204" pitchFamily="34" charset="-122"/>
                  <a:ea typeface="微软雅黑" panose="020B0503020204020204" pitchFamily="34" charset="-122"/>
                </a:rPr>
                <a:t>B754 </a:t>
              </a:r>
              <a:r>
                <a:rPr lang="zh-CN" altLang="en-US" sz="1100" b="1" dirty="0">
                  <a:latin typeface="微软雅黑" panose="020B0503020204020204" pitchFamily="34" charset="-122"/>
                  <a:ea typeface="微软雅黑" panose="020B0503020204020204" pitchFamily="34" charset="-122"/>
                </a:rPr>
                <a:t>中期改款</a:t>
              </a:r>
            </a:p>
          </p:txBody>
        </p:sp>
        <p:sp>
          <p:nvSpPr>
            <p:cNvPr id="53" name="文本占位符 1"/>
            <p:cNvSpPr txBox="1">
              <a:spLocks/>
            </p:cNvSpPr>
            <p:nvPr/>
          </p:nvSpPr>
          <p:spPr bwMode="auto">
            <a:xfrm>
              <a:off x="5977432" y="4184213"/>
              <a:ext cx="738985" cy="17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lnSpc>
                  <a:spcPct val="93000"/>
                </a:lnSpc>
                <a:buFont typeface="Arial" pitchFamily="34" charset="0"/>
                <a:buNone/>
              </a:pPr>
              <a:r>
                <a:rPr lang="en-US" altLang="zh-CN" sz="1200" i="1" dirty="0">
                  <a:solidFill>
                    <a:schemeClr val="accent6">
                      <a:lumMod val="50000"/>
                    </a:schemeClr>
                  </a:solidFill>
                  <a:latin typeface="微软雅黑" pitchFamily="34" charset="-122"/>
                  <a:ea typeface="微软雅黑" pitchFamily="34" charset="-122"/>
                </a:rPr>
                <a:t>&gt; </a:t>
              </a:r>
              <a:r>
                <a:rPr lang="zh-CN" altLang="en-US" sz="1200" i="1" dirty="0">
                  <a:solidFill>
                    <a:schemeClr val="accent6">
                      <a:lumMod val="50000"/>
                    </a:schemeClr>
                  </a:solidFill>
                  <a:latin typeface="微软雅黑" pitchFamily="34" charset="-122"/>
                  <a:ea typeface="微软雅黑" pitchFamily="34" charset="-122"/>
                </a:rPr>
                <a:t>九月</a:t>
              </a:r>
              <a:r>
                <a:rPr lang="en-US" altLang="zh-CN" sz="1200" i="1" dirty="0">
                  <a:solidFill>
                    <a:schemeClr val="accent6">
                      <a:lumMod val="50000"/>
                    </a:schemeClr>
                  </a:solidFill>
                  <a:latin typeface="微软雅黑" pitchFamily="34" charset="-122"/>
                  <a:ea typeface="微软雅黑" pitchFamily="34" charset="-122"/>
                </a:rPr>
                <a:t>Sep</a:t>
              </a:r>
              <a:endParaRPr lang="zh-CN" altLang="en-US" sz="1200" b="1" i="1" dirty="0">
                <a:solidFill>
                  <a:schemeClr val="accent6">
                    <a:lumMod val="50000"/>
                  </a:schemeClr>
                </a:solidFill>
                <a:latin typeface="微软雅黑" pitchFamily="34" charset="-122"/>
                <a:ea typeface="微软雅黑" pitchFamily="34" charset="-122"/>
                <a:cs typeface="汉仪中等线简" pitchFamily="49" charset="-122"/>
              </a:endParaRPr>
            </a:p>
          </p:txBody>
        </p:sp>
        <p:sp>
          <p:nvSpPr>
            <p:cNvPr id="54" name="文本占位符 1"/>
            <p:cNvSpPr txBox="1">
              <a:spLocks/>
            </p:cNvSpPr>
            <p:nvPr/>
          </p:nvSpPr>
          <p:spPr bwMode="auto">
            <a:xfrm>
              <a:off x="5985369" y="2685444"/>
              <a:ext cx="738985" cy="17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lnSpc>
                  <a:spcPct val="93000"/>
                </a:lnSpc>
                <a:buFont typeface="Arial" pitchFamily="34" charset="0"/>
                <a:buNone/>
              </a:pPr>
              <a:r>
                <a:rPr lang="en-US" altLang="zh-CN" sz="1200" i="1" dirty="0">
                  <a:solidFill>
                    <a:schemeClr val="accent6">
                      <a:lumMod val="50000"/>
                    </a:schemeClr>
                  </a:solidFill>
                  <a:latin typeface="微软雅黑" pitchFamily="34" charset="-122"/>
                  <a:ea typeface="微软雅黑" pitchFamily="34" charset="-122"/>
                </a:rPr>
                <a:t>&gt; </a:t>
              </a:r>
              <a:r>
                <a:rPr lang="zh-CN" altLang="en-US" sz="1200" i="1" dirty="0">
                  <a:solidFill>
                    <a:schemeClr val="accent6">
                      <a:lumMod val="50000"/>
                    </a:schemeClr>
                  </a:solidFill>
                  <a:latin typeface="微软雅黑" pitchFamily="34" charset="-122"/>
                  <a:ea typeface="微软雅黑" pitchFamily="34" charset="-122"/>
                </a:rPr>
                <a:t>九月</a:t>
              </a:r>
              <a:r>
                <a:rPr lang="en-US" altLang="zh-CN" sz="1200" i="1" dirty="0">
                  <a:solidFill>
                    <a:schemeClr val="accent6">
                      <a:lumMod val="50000"/>
                    </a:schemeClr>
                  </a:solidFill>
                  <a:latin typeface="微软雅黑" pitchFamily="34" charset="-122"/>
                  <a:ea typeface="微软雅黑" pitchFamily="34" charset="-122"/>
                </a:rPr>
                <a:t>Sep</a:t>
              </a:r>
              <a:endParaRPr lang="zh-CN" altLang="en-US" sz="1200" b="1" i="1" dirty="0">
                <a:solidFill>
                  <a:schemeClr val="accent6">
                    <a:lumMod val="50000"/>
                  </a:schemeClr>
                </a:solidFill>
                <a:latin typeface="微软雅黑" pitchFamily="34" charset="-122"/>
                <a:ea typeface="微软雅黑" pitchFamily="34" charset="-122"/>
                <a:cs typeface="汉仪中等线简" pitchFamily="49" charset="-122"/>
              </a:endParaRPr>
            </a:p>
          </p:txBody>
        </p:sp>
        <p:sp>
          <p:nvSpPr>
            <p:cNvPr id="55" name="文本占位符 1"/>
            <p:cNvSpPr txBox="1">
              <a:spLocks/>
            </p:cNvSpPr>
            <p:nvPr/>
          </p:nvSpPr>
          <p:spPr>
            <a:xfrm>
              <a:off x="7241399" y="4474748"/>
              <a:ext cx="1107294" cy="314830"/>
            </a:xfrm>
            <a:prstGeom prst="rect">
              <a:avLst/>
            </a:prstGeom>
            <a:noFill/>
            <a:ln>
              <a:noFill/>
            </a:ln>
            <a:effectLst/>
            <a:extLst/>
          </p:spPr>
          <p:txBody>
            <a:bodyPr wrap="square" lIns="0" tIns="0" rIns="0" bIns="0">
              <a:spAutoFit/>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eaLnBrk="0" hangingPunct="0">
                <a:defRPr/>
              </a:pPr>
              <a:r>
                <a:rPr lang="en-US" altLang="zh-CN" sz="1100" b="1" dirty="0">
                  <a:latin typeface="微软雅黑" panose="020B0503020204020204" pitchFamily="34" charset="-122"/>
                  <a:ea typeface="微软雅黑" panose="020B0503020204020204" pitchFamily="34" charset="-122"/>
                </a:rPr>
                <a:t>X 83</a:t>
              </a:r>
            </a:p>
            <a:p>
              <a:pPr eaLnBrk="0" hangingPunct="0">
                <a:defRPr/>
              </a:pPr>
              <a:r>
                <a:rPr lang="zh-CN" altLang="en-US" sz="1100" b="1" dirty="0">
                  <a:latin typeface="微软雅黑" panose="020B0503020204020204" pitchFamily="34" charset="-122"/>
                  <a:ea typeface="微软雅黑" panose="020B0503020204020204" pitchFamily="34" charset="-122"/>
                </a:rPr>
                <a:t>豪华轿车</a:t>
              </a:r>
            </a:p>
          </p:txBody>
        </p:sp>
        <p:sp>
          <p:nvSpPr>
            <p:cNvPr id="56" name="文本占位符 1"/>
            <p:cNvSpPr txBox="1">
              <a:spLocks/>
            </p:cNvSpPr>
            <p:nvPr/>
          </p:nvSpPr>
          <p:spPr>
            <a:xfrm>
              <a:off x="7208867" y="2541428"/>
              <a:ext cx="1139825" cy="314830"/>
            </a:xfrm>
            <a:prstGeom prst="rect">
              <a:avLst/>
            </a:prstGeom>
            <a:noFill/>
            <a:ln>
              <a:noFill/>
            </a:ln>
            <a:effectLst/>
            <a:extLst/>
          </p:spPr>
          <p:txBody>
            <a:bodyPr lIns="0" tIns="0" rIns="0" bIns="0">
              <a:spAutoFit/>
            </a:bodyPr>
            <a:lstStyle>
              <a:defPPr>
                <a:defRPr lang="zh-CN"/>
              </a:defPPr>
              <a:lvl1pPr algn="ctr">
                <a:lnSpc>
                  <a:spcPct val="93000"/>
                </a:lnSpc>
                <a:buFont typeface="Arial" pitchFamily="34" charset="0"/>
                <a:buNone/>
                <a:defRPr sz="2000">
                  <a:latin typeface="Arial" pitchFamily="34" charset="0"/>
                  <a:ea typeface="黑体" pitchFamily="49" charset="-122"/>
                </a:defRPr>
              </a:lvl1pPr>
            </a:lstStyle>
            <a:p>
              <a:pPr eaLnBrk="0" hangingPunct="0">
                <a:defRPr/>
              </a:pPr>
              <a:r>
                <a:rPr lang="en-US" altLang="zh-CN" sz="1100" b="1" dirty="0">
                  <a:latin typeface="微软雅黑" panose="020B0503020204020204" pitchFamily="34" charset="-122"/>
                  <a:ea typeface="微软雅黑" panose="020B0503020204020204" pitchFamily="34" charset="-122"/>
                </a:rPr>
                <a:t>X 74</a:t>
              </a:r>
            </a:p>
            <a:p>
              <a:pPr eaLnBrk="0" hangingPunct="0">
                <a:defRPr/>
              </a:pPr>
              <a:r>
                <a:rPr lang="en-US" altLang="zh-CN" sz="1100" b="1" dirty="0">
                  <a:latin typeface="微软雅黑" panose="020B0503020204020204" pitchFamily="34" charset="-122"/>
                  <a:ea typeface="微软雅黑" panose="020B0503020204020204" pitchFamily="34" charset="-122"/>
                </a:rPr>
                <a:t>D</a:t>
              </a:r>
              <a:r>
                <a:rPr lang="zh-CN" altLang="en-US" sz="1100" b="1" dirty="0">
                  <a:latin typeface="微软雅黑" panose="020B0503020204020204" pitchFamily="34" charset="-122"/>
                  <a:ea typeface="微软雅黑" panose="020B0503020204020204" pitchFamily="34" charset="-122"/>
                </a:rPr>
                <a:t>级豪华</a:t>
              </a:r>
              <a:r>
                <a:rPr lang="en-US" altLang="zh-CN" sz="1100" b="1" dirty="0">
                  <a:latin typeface="微软雅黑" panose="020B0503020204020204" pitchFamily="34" charset="-122"/>
                  <a:ea typeface="微软雅黑" panose="020B0503020204020204" pitchFamily="34" charset="-122"/>
                </a:rPr>
                <a:t>SUV</a:t>
              </a:r>
              <a:endParaRPr lang="zh-CN" altLang="en-US" sz="1100" b="1" dirty="0">
                <a:latin typeface="微软雅黑" panose="020B0503020204020204" pitchFamily="34" charset="-122"/>
                <a:ea typeface="微软雅黑" panose="020B0503020204020204" pitchFamily="34" charset="-122"/>
              </a:endParaRPr>
            </a:p>
          </p:txBody>
        </p:sp>
        <p:sp>
          <p:nvSpPr>
            <p:cNvPr id="57" name="文本占位符 1"/>
            <p:cNvSpPr txBox="1">
              <a:spLocks/>
            </p:cNvSpPr>
            <p:nvPr/>
          </p:nvSpPr>
          <p:spPr bwMode="auto">
            <a:xfrm>
              <a:off x="7276829" y="2325404"/>
              <a:ext cx="713337" cy="17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lnSpc>
                  <a:spcPct val="93000"/>
                </a:lnSpc>
                <a:buFont typeface="Arial" pitchFamily="34" charset="0"/>
                <a:buNone/>
              </a:pPr>
              <a:r>
                <a:rPr lang="en-US" altLang="zh-CN" sz="1200" i="1" dirty="0">
                  <a:solidFill>
                    <a:schemeClr val="accent6">
                      <a:lumMod val="50000"/>
                    </a:schemeClr>
                  </a:solidFill>
                  <a:latin typeface="微软雅黑" pitchFamily="34" charset="-122"/>
                  <a:ea typeface="微软雅黑" pitchFamily="34" charset="-122"/>
                </a:rPr>
                <a:t>&gt; 4</a:t>
              </a:r>
              <a:r>
                <a:rPr lang="zh-CN" altLang="en-US" sz="1200" i="1" dirty="0">
                  <a:solidFill>
                    <a:schemeClr val="accent6">
                      <a:lumMod val="50000"/>
                    </a:schemeClr>
                  </a:solidFill>
                  <a:latin typeface="微软雅黑" pitchFamily="34" charset="-122"/>
                  <a:ea typeface="微软雅黑" pitchFamily="34" charset="-122"/>
                </a:rPr>
                <a:t>月</a:t>
              </a:r>
              <a:r>
                <a:rPr lang="en-US" altLang="zh-CN" sz="1200" i="1" dirty="0">
                  <a:solidFill>
                    <a:schemeClr val="accent6">
                      <a:lumMod val="50000"/>
                    </a:schemeClr>
                  </a:solidFill>
                  <a:latin typeface="微软雅黑" pitchFamily="34" charset="-122"/>
                  <a:ea typeface="微软雅黑" pitchFamily="34" charset="-122"/>
                </a:rPr>
                <a:t>Apr</a:t>
              </a:r>
              <a:r>
                <a:rPr lang="zh-CN" altLang="en-US" sz="1200" i="1" dirty="0">
                  <a:solidFill>
                    <a:schemeClr val="accent6">
                      <a:lumMod val="50000"/>
                    </a:schemeClr>
                  </a:solidFill>
                  <a:latin typeface="微软雅黑" pitchFamily="34" charset="-122"/>
                  <a:ea typeface="微软雅黑" pitchFamily="34" charset="-122"/>
                </a:rPr>
                <a:t> </a:t>
              </a:r>
              <a:endParaRPr lang="zh-CN" altLang="en-US" sz="1200" b="1" i="1" dirty="0">
                <a:solidFill>
                  <a:schemeClr val="accent6">
                    <a:lumMod val="50000"/>
                  </a:schemeClr>
                </a:solidFill>
                <a:latin typeface="微软雅黑" pitchFamily="34" charset="-122"/>
                <a:ea typeface="微软雅黑" pitchFamily="34" charset="-122"/>
                <a:cs typeface="汉仪中等线简" pitchFamily="49" charset="-122"/>
              </a:endParaRPr>
            </a:p>
          </p:txBody>
        </p:sp>
        <p:sp>
          <p:nvSpPr>
            <p:cNvPr id="58" name="文本占位符 1"/>
            <p:cNvSpPr txBox="1">
              <a:spLocks/>
            </p:cNvSpPr>
            <p:nvPr/>
          </p:nvSpPr>
          <p:spPr bwMode="auto">
            <a:xfrm>
              <a:off x="7313332" y="4215244"/>
              <a:ext cx="829330" cy="17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eaLnBrk="0" hangingPunct="0">
                <a:lnSpc>
                  <a:spcPct val="93000"/>
                </a:lnSpc>
                <a:buFont typeface="Arial" pitchFamily="34" charset="0"/>
                <a:buNone/>
              </a:pPr>
              <a:r>
                <a:rPr lang="en-US" altLang="zh-CN" sz="1200" i="1" dirty="0">
                  <a:solidFill>
                    <a:schemeClr val="accent6">
                      <a:lumMod val="50000"/>
                    </a:schemeClr>
                  </a:solidFill>
                  <a:latin typeface="微软雅黑" pitchFamily="34" charset="-122"/>
                  <a:ea typeface="微软雅黑" pitchFamily="34" charset="-122"/>
                </a:rPr>
                <a:t>&gt; </a:t>
              </a:r>
              <a:r>
                <a:rPr lang="zh-CN" altLang="en-US" sz="1200" i="1" dirty="0">
                  <a:solidFill>
                    <a:schemeClr val="accent6">
                      <a:lumMod val="50000"/>
                    </a:schemeClr>
                  </a:solidFill>
                  <a:latin typeface="微软雅黑" pitchFamily="34" charset="-122"/>
                  <a:ea typeface="微软雅黑" pitchFamily="34" charset="-122"/>
                </a:rPr>
                <a:t>三月 </a:t>
              </a:r>
              <a:r>
                <a:rPr lang="en-US" altLang="zh-CN" sz="1200" i="1" dirty="0">
                  <a:solidFill>
                    <a:schemeClr val="accent6">
                      <a:lumMod val="50000"/>
                    </a:schemeClr>
                  </a:solidFill>
                  <a:latin typeface="微软雅黑" pitchFamily="34" charset="-122"/>
                  <a:ea typeface="微软雅黑" pitchFamily="34" charset="-122"/>
                </a:rPr>
                <a:t>Mar.</a:t>
              </a:r>
              <a:endParaRPr lang="zh-CN" altLang="en-US" sz="1200" b="1" i="1" dirty="0">
                <a:solidFill>
                  <a:schemeClr val="accent6">
                    <a:lumMod val="50000"/>
                  </a:schemeClr>
                </a:solidFill>
                <a:latin typeface="微软雅黑" pitchFamily="34" charset="-122"/>
                <a:ea typeface="微软雅黑" pitchFamily="34" charset="-122"/>
                <a:cs typeface="汉仪中等线简" pitchFamily="49" charset="-122"/>
              </a:endParaRPr>
            </a:p>
          </p:txBody>
        </p:sp>
      </p:grpSp>
      <p:sp>
        <p:nvSpPr>
          <p:cNvPr id="60" name="文本占位符 1"/>
          <p:cNvSpPr txBox="1">
            <a:spLocks/>
          </p:cNvSpPr>
          <p:nvPr/>
        </p:nvSpPr>
        <p:spPr bwMode="auto">
          <a:xfrm>
            <a:off x="1567066" y="1498844"/>
            <a:ext cx="6015832" cy="228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2100">
                <a:solidFill>
                  <a:schemeClr val="tx1"/>
                </a:solidFill>
                <a:latin typeface="CorpoS"/>
                <a:ea typeface="宋体" pitchFamily="2" charset="-122"/>
              </a:defRPr>
            </a:lvl1pPr>
            <a:lvl2pPr marL="742950" indent="-285750">
              <a:defRPr sz="2100">
                <a:solidFill>
                  <a:schemeClr val="tx1"/>
                </a:solidFill>
                <a:latin typeface="CorpoS"/>
                <a:ea typeface="宋体" pitchFamily="2" charset="-122"/>
              </a:defRPr>
            </a:lvl2pPr>
            <a:lvl3pPr marL="1143000" indent="-228600">
              <a:defRPr sz="2100">
                <a:solidFill>
                  <a:schemeClr val="tx1"/>
                </a:solidFill>
                <a:latin typeface="CorpoS"/>
                <a:ea typeface="宋体" pitchFamily="2" charset="-122"/>
              </a:defRPr>
            </a:lvl3pPr>
            <a:lvl4pPr marL="1600200" indent="-228600">
              <a:defRPr sz="2100">
                <a:solidFill>
                  <a:schemeClr val="tx1"/>
                </a:solidFill>
                <a:latin typeface="CorpoS"/>
                <a:ea typeface="宋体" pitchFamily="2" charset="-122"/>
              </a:defRPr>
            </a:lvl4pPr>
            <a:lvl5pPr marL="2057400" indent="-228600">
              <a:defRPr sz="2100">
                <a:solidFill>
                  <a:schemeClr val="tx1"/>
                </a:solidFill>
                <a:latin typeface="CorpoS"/>
                <a:ea typeface="宋体" pitchFamily="2" charset="-122"/>
              </a:defRPr>
            </a:lvl5pPr>
            <a:lvl6pPr marL="2514600" indent="-228600" eaLnBrk="0" fontAlgn="base" hangingPunct="0">
              <a:spcBef>
                <a:spcPct val="0"/>
              </a:spcBef>
              <a:spcAft>
                <a:spcPct val="0"/>
              </a:spcAft>
              <a:defRPr sz="2100">
                <a:solidFill>
                  <a:schemeClr val="tx1"/>
                </a:solidFill>
                <a:latin typeface="CorpoS"/>
                <a:ea typeface="宋体" pitchFamily="2" charset="-122"/>
              </a:defRPr>
            </a:lvl6pPr>
            <a:lvl7pPr marL="2971800" indent="-228600" eaLnBrk="0" fontAlgn="base" hangingPunct="0">
              <a:spcBef>
                <a:spcPct val="0"/>
              </a:spcBef>
              <a:spcAft>
                <a:spcPct val="0"/>
              </a:spcAft>
              <a:defRPr sz="2100">
                <a:solidFill>
                  <a:schemeClr val="tx1"/>
                </a:solidFill>
                <a:latin typeface="CorpoS"/>
                <a:ea typeface="宋体" pitchFamily="2" charset="-122"/>
              </a:defRPr>
            </a:lvl7pPr>
            <a:lvl8pPr marL="3429000" indent="-228600" eaLnBrk="0" fontAlgn="base" hangingPunct="0">
              <a:spcBef>
                <a:spcPct val="0"/>
              </a:spcBef>
              <a:spcAft>
                <a:spcPct val="0"/>
              </a:spcAft>
              <a:defRPr sz="2100">
                <a:solidFill>
                  <a:schemeClr val="tx1"/>
                </a:solidFill>
                <a:latin typeface="CorpoS"/>
                <a:ea typeface="宋体" pitchFamily="2" charset="-122"/>
              </a:defRPr>
            </a:lvl8pPr>
            <a:lvl9pPr marL="3886200" indent="-228600" eaLnBrk="0" fontAlgn="base" hangingPunct="0">
              <a:spcBef>
                <a:spcPct val="0"/>
              </a:spcBef>
              <a:spcAft>
                <a:spcPct val="0"/>
              </a:spcAft>
              <a:defRPr sz="2100">
                <a:solidFill>
                  <a:schemeClr val="tx1"/>
                </a:solidFill>
                <a:latin typeface="CorpoS"/>
                <a:ea typeface="宋体" pitchFamily="2" charset="-122"/>
              </a:defRPr>
            </a:lvl9pPr>
          </a:lstStyle>
          <a:p>
            <a:pPr algn="ctr" eaLnBrk="0" hangingPunct="0">
              <a:lnSpc>
                <a:spcPct val="93000"/>
              </a:lnSpc>
            </a:pPr>
            <a:r>
              <a:rPr lang="en-US" altLang="zh-CN" sz="1600" b="1" dirty="0">
                <a:solidFill>
                  <a:srgbClr val="C00000"/>
                </a:solidFill>
                <a:latin typeface="微软雅黑" pitchFamily="34" charset="-122"/>
                <a:ea typeface="微软雅黑" pitchFamily="34" charset="-122"/>
              </a:rPr>
              <a:t>2013-2019 DS </a:t>
            </a:r>
            <a:r>
              <a:rPr lang="zh-CN" altLang="en-US" sz="1600" b="1" dirty="0">
                <a:solidFill>
                  <a:srgbClr val="C00000"/>
                </a:solidFill>
                <a:latin typeface="微软雅黑" pitchFamily="34" charset="-122"/>
                <a:ea typeface="微软雅黑" pitchFamily="34" charset="-122"/>
                <a:cs typeface="汉仪中等线简" pitchFamily="49" charset="-122"/>
              </a:rPr>
              <a:t>产品（国产）投放规划</a:t>
            </a:r>
            <a:r>
              <a:rPr lang="en-US" altLang="zh-CN" sz="1600" b="1" dirty="0">
                <a:solidFill>
                  <a:srgbClr val="C00000"/>
                </a:solidFill>
                <a:latin typeface="微软雅黑" pitchFamily="34" charset="-122"/>
                <a:ea typeface="微软雅黑" pitchFamily="34" charset="-122"/>
                <a:cs typeface="汉仪中等线简" pitchFamily="49" charset="-122"/>
              </a:rPr>
              <a:t>DS Product Line</a:t>
            </a:r>
            <a:endParaRPr lang="zh-CN" altLang="en-US" sz="1600" b="1" dirty="0">
              <a:solidFill>
                <a:srgbClr val="C00000"/>
              </a:solidFill>
              <a:latin typeface="微软雅黑" pitchFamily="34" charset="-122"/>
              <a:ea typeface="微软雅黑" pitchFamily="34" charset="-122"/>
              <a:cs typeface="汉仪中等线简" pitchFamily="49" charset="-122"/>
            </a:endParaRPr>
          </a:p>
        </p:txBody>
      </p:sp>
      <p:pic>
        <p:nvPicPr>
          <p:cNvPr id="7170"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077340" y="3448203"/>
            <a:ext cx="1144800" cy="635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descr="C:\Users\c000257\AppData\Roaming\Tencent\Users\413468010\QQ\WinTemp\RichOle\(60)J6@$QH$WK3~W90SOM3G.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077340" y="4659142"/>
            <a:ext cx="1144800" cy="611917"/>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330986" y="2985458"/>
            <a:ext cx="1144800" cy="6387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831057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5"/>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697132" y="625254"/>
            <a:ext cx="2074668" cy="615531"/>
          </a:xfrm>
          <a:prstGeom prst="rect">
            <a:avLst/>
          </a:prstGeom>
          <a:noFill/>
        </p:spPr>
        <p:txBody>
          <a:bodyPr wrap="square" lIns="91419" tIns="45709" rIns="91419" bIns="45709" rtlCol="0">
            <a:spAutoFit/>
          </a:bodyPr>
          <a:lstStyle/>
          <a:p>
            <a:r>
              <a:rPr lang="zh-CN" altLang="en-US" sz="2000" b="1" dirty="0">
                <a:solidFill>
                  <a:srgbClr val="C00000"/>
                </a:solidFill>
                <a:latin typeface="微软雅黑" pitchFamily="34" charset="-122"/>
                <a:ea typeface="微软雅黑" pitchFamily="34" charset="-122"/>
              </a:rPr>
              <a:t>服务网络</a:t>
            </a:r>
            <a:endParaRPr lang="en-US" altLang="zh-CN" sz="2000" b="1" dirty="0">
              <a:solidFill>
                <a:srgbClr val="C00000"/>
              </a:solidFill>
              <a:latin typeface="微软雅黑" pitchFamily="34" charset="-122"/>
              <a:ea typeface="微软雅黑" pitchFamily="34" charset="-122"/>
            </a:endParaRPr>
          </a:p>
          <a:p>
            <a:r>
              <a:rPr lang="en-US" altLang="zh-CN" sz="1400" b="1" dirty="0">
                <a:solidFill>
                  <a:srgbClr val="C00000"/>
                </a:solidFill>
                <a:latin typeface="微软雅黑" pitchFamily="34" charset="-122"/>
                <a:ea typeface="微软雅黑" pitchFamily="34" charset="-122"/>
                <a:cs typeface="Arial" pitchFamily="34" charset="0"/>
              </a:rPr>
              <a:t>Dealer Network</a:t>
            </a:r>
            <a:r>
              <a:rPr lang="en-US" altLang="zh-CN" sz="1400" b="1" dirty="0">
                <a:solidFill>
                  <a:srgbClr val="C00000"/>
                </a:solidFill>
                <a:latin typeface="微软雅黑" pitchFamily="34" charset="-122"/>
                <a:ea typeface="微软雅黑" pitchFamily="34" charset="-122"/>
                <a:cs typeface="Arial" pitchFamily="34" charset="0"/>
                <a:sym typeface="微软雅黑" pitchFamily="34" charset="-122"/>
              </a:rPr>
              <a:t> </a:t>
            </a:r>
            <a:r>
              <a:rPr lang="en-US" altLang="zh-CN" sz="1400" b="1" dirty="0">
                <a:solidFill>
                  <a:srgbClr val="C00000"/>
                </a:solidFill>
                <a:latin typeface="微软雅黑" pitchFamily="34" charset="-122"/>
                <a:ea typeface="微软雅黑" pitchFamily="34" charset="-122"/>
                <a:cs typeface="Arial" pitchFamily="34" charset="0"/>
              </a:rPr>
              <a:t> </a:t>
            </a:r>
            <a:endParaRPr lang="en-US" altLang="zh-CN" sz="1400" b="1" dirty="0">
              <a:solidFill>
                <a:srgbClr val="C00000"/>
              </a:solidFill>
              <a:latin typeface="微软雅黑" pitchFamily="34" charset="-122"/>
              <a:ea typeface="微软雅黑" pitchFamily="34" charset="-122"/>
              <a:cs typeface="Arial" pitchFamily="34" charset="0"/>
              <a:sym typeface="黑体" pitchFamily="49" charset="-122"/>
            </a:endParaRPr>
          </a:p>
        </p:txBody>
      </p:sp>
      <p:sp>
        <p:nvSpPr>
          <p:cNvPr id="4"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sp>
        <p:nvSpPr>
          <p:cNvPr id="6" name="TextBox 5"/>
          <p:cNvSpPr txBox="1"/>
          <p:nvPr/>
        </p:nvSpPr>
        <p:spPr>
          <a:xfrm>
            <a:off x="651415" y="1712877"/>
            <a:ext cx="2650732" cy="3185487"/>
          </a:xfrm>
          <a:prstGeom prst="rect">
            <a:avLst/>
          </a:prstGeom>
          <a:noFill/>
        </p:spPr>
        <p:txBody>
          <a:bodyPr wrap="square" lIns="91419" tIns="45709" rIns="91419" bIns="45709" rtlCol="0">
            <a:spAutoFit/>
          </a:bodyPr>
          <a:lstStyle/>
          <a:p>
            <a:pPr>
              <a:lnSpc>
                <a:spcPct val="150000"/>
              </a:lnSpc>
            </a:pPr>
            <a:r>
              <a:rPr lang="zh-CN" altLang="en-US" sz="1000" dirty="0">
                <a:solidFill>
                  <a:schemeClr val="tx1">
                    <a:lumMod val="85000"/>
                    <a:lumOff val="15000"/>
                  </a:schemeClr>
                </a:solidFill>
                <a:latin typeface="微软雅黑" pitchFamily="34" charset="-122"/>
                <a:ea typeface="微软雅黑" pitchFamily="34" charset="-122"/>
              </a:rPr>
              <a:t>作为国内豪华品牌后起之秀，</a:t>
            </a:r>
            <a:r>
              <a:rPr lang="en-US" altLang="zh-CN" sz="1000" dirty="0">
                <a:solidFill>
                  <a:schemeClr val="tx1">
                    <a:lumMod val="85000"/>
                    <a:lumOff val="15000"/>
                  </a:schemeClr>
                </a:solidFill>
                <a:latin typeface="微软雅黑" pitchFamily="34" charset="-122"/>
                <a:ea typeface="微软雅黑" pitchFamily="34" charset="-122"/>
              </a:rPr>
              <a:t>DS</a:t>
            </a:r>
            <a:r>
              <a:rPr lang="zh-CN" altLang="en-US" sz="1000" dirty="0">
                <a:solidFill>
                  <a:schemeClr val="tx1">
                    <a:lumMod val="85000"/>
                    <a:lumOff val="15000"/>
                  </a:schemeClr>
                </a:solidFill>
                <a:latin typeface="微软雅黑" pitchFamily="34" charset="-122"/>
                <a:ea typeface="微软雅黑" pitchFamily="34" charset="-122"/>
              </a:rPr>
              <a:t>在经销商网络及售后服务独树一帜。</a:t>
            </a:r>
            <a:r>
              <a:rPr lang="en-US" altLang="zh-CN" sz="1000" dirty="0">
                <a:solidFill>
                  <a:schemeClr val="tx1">
                    <a:lumMod val="85000"/>
                    <a:lumOff val="15000"/>
                  </a:schemeClr>
                </a:solidFill>
                <a:latin typeface="微软雅黑" pitchFamily="34" charset="-122"/>
                <a:ea typeface="微软雅黑" pitchFamily="34" charset="-122"/>
              </a:rPr>
              <a:t>DS STORE</a:t>
            </a:r>
            <a:r>
              <a:rPr lang="zh-CN" altLang="en-US" sz="1000" dirty="0">
                <a:solidFill>
                  <a:schemeClr val="tx1">
                    <a:lumMod val="85000"/>
                    <a:lumOff val="15000"/>
                  </a:schemeClr>
                </a:solidFill>
                <a:latin typeface="微软雅黑" pitchFamily="34" charset="-122"/>
                <a:ea typeface="微软雅黑" pitchFamily="34" charset="-122"/>
              </a:rPr>
              <a:t>以前卫设计形象，“一对一尊享服务”的人性化理念，开启</a:t>
            </a:r>
            <a:r>
              <a:rPr lang="en-US" altLang="zh-CN" sz="1000" dirty="0">
                <a:solidFill>
                  <a:schemeClr val="tx1">
                    <a:lumMod val="85000"/>
                    <a:lumOff val="15000"/>
                  </a:schemeClr>
                </a:solidFill>
                <a:latin typeface="微软雅黑" pitchFamily="34" charset="-122"/>
                <a:ea typeface="微软雅黑" pitchFamily="34" charset="-122"/>
              </a:rPr>
              <a:t>DS</a:t>
            </a:r>
            <a:r>
              <a:rPr lang="zh-CN" altLang="en-US" sz="1000" dirty="0">
                <a:solidFill>
                  <a:schemeClr val="tx1">
                    <a:lumMod val="85000"/>
                    <a:lumOff val="15000"/>
                  </a:schemeClr>
                </a:solidFill>
                <a:latin typeface="微软雅黑" pitchFamily="34" charset="-122"/>
                <a:ea typeface="微软雅黑" pitchFamily="34" charset="-122"/>
              </a:rPr>
              <a:t>在中国营销新篇章；</a:t>
            </a:r>
            <a:endParaRPr lang="en-US" altLang="zh-CN" sz="1000" dirty="0">
              <a:solidFill>
                <a:schemeClr val="tx1">
                  <a:lumMod val="85000"/>
                  <a:lumOff val="15000"/>
                </a:schemeClr>
              </a:solidFill>
              <a:latin typeface="微软雅黑" pitchFamily="34" charset="-122"/>
              <a:ea typeface="微软雅黑" pitchFamily="34" charset="-122"/>
            </a:endParaRPr>
          </a:p>
          <a:p>
            <a:pPr>
              <a:lnSpc>
                <a:spcPct val="150000"/>
              </a:lnSpc>
            </a:pPr>
            <a:r>
              <a:rPr lang="zh-CN" altLang="en-US" sz="1000" dirty="0">
                <a:solidFill>
                  <a:schemeClr val="tx1">
                    <a:lumMod val="85000"/>
                    <a:lumOff val="15000"/>
                  </a:schemeClr>
                </a:solidFill>
                <a:latin typeface="微软雅黑" pitchFamily="34" charset="-122"/>
                <a:ea typeface="微软雅黑" pitchFamily="34" charset="-122"/>
              </a:rPr>
              <a:t>全国现有</a:t>
            </a:r>
            <a:r>
              <a:rPr lang="en-US" altLang="zh-CN" dirty="0" smtClean="0">
                <a:solidFill>
                  <a:srgbClr val="C00000"/>
                </a:solidFill>
                <a:latin typeface="微软雅黑" pitchFamily="34" charset="-122"/>
                <a:ea typeface="微软雅黑" pitchFamily="34" charset="-122"/>
              </a:rPr>
              <a:t>92</a:t>
            </a:r>
            <a:r>
              <a:rPr lang="zh-CN" altLang="en-US" sz="1000" dirty="0">
                <a:solidFill>
                  <a:schemeClr val="tx1">
                    <a:lumMod val="85000"/>
                    <a:lumOff val="15000"/>
                  </a:schemeClr>
                </a:solidFill>
                <a:latin typeface="微软雅黑" pitchFamily="34" charset="-122"/>
                <a:ea typeface="微软雅黑" pitchFamily="34" charset="-122"/>
              </a:rPr>
              <a:t>家</a:t>
            </a:r>
            <a:r>
              <a:rPr lang="en-US" altLang="zh-CN" sz="1000" dirty="0">
                <a:solidFill>
                  <a:schemeClr val="tx1">
                    <a:lumMod val="85000"/>
                    <a:lumOff val="15000"/>
                  </a:schemeClr>
                </a:solidFill>
                <a:latin typeface="微软雅黑" pitchFamily="34" charset="-122"/>
                <a:ea typeface="微软雅黑" pitchFamily="34" charset="-122"/>
              </a:rPr>
              <a:t>DS STORE</a:t>
            </a:r>
            <a:r>
              <a:rPr lang="zh-CN" altLang="en-US" sz="1000" dirty="0">
                <a:solidFill>
                  <a:schemeClr val="tx1">
                    <a:lumMod val="85000"/>
                    <a:lumOff val="15000"/>
                  </a:schemeClr>
                </a:solidFill>
                <a:latin typeface="微软雅黑" pitchFamily="34" charset="-122"/>
                <a:ea typeface="微软雅黑" pitchFamily="34" charset="-122"/>
              </a:rPr>
              <a:t>，</a:t>
            </a:r>
            <a:r>
              <a:rPr lang="en-US" altLang="zh-CN" sz="2000" dirty="0">
                <a:solidFill>
                  <a:srgbClr val="C00000"/>
                </a:solidFill>
                <a:latin typeface="微软雅黑" pitchFamily="34" charset="-122"/>
                <a:ea typeface="微软雅黑" pitchFamily="34" charset="-122"/>
              </a:rPr>
              <a:t>8</a:t>
            </a:r>
            <a:r>
              <a:rPr lang="zh-CN" altLang="en-US" sz="1000" dirty="0">
                <a:solidFill>
                  <a:schemeClr val="tx1">
                    <a:lumMod val="85000"/>
                    <a:lumOff val="15000"/>
                  </a:schemeClr>
                </a:solidFill>
                <a:latin typeface="微软雅黑" pitchFamily="34" charset="-122"/>
                <a:ea typeface="微软雅黑" pitchFamily="34" charset="-122"/>
              </a:rPr>
              <a:t>家城市展厅</a:t>
            </a:r>
            <a:r>
              <a:rPr lang="en-US" altLang="zh-CN" sz="1000" dirty="0">
                <a:solidFill>
                  <a:schemeClr val="tx1">
                    <a:lumMod val="85000"/>
                    <a:lumOff val="15000"/>
                  </a:schemeClr>
                </a:solidFill>
                <a:latin typeface="微软雅黑" pitchFamily="34" charset="-122"/>
                <a:ea typeface="微软雅黑" pitchFamily="34" charset="-122"/>
              </a:rPr>
              <a:t>.</a:t>
            </a:r>
          </a:p>
          <a:p>
            <a:pPr>
              <a:lnSpc>
                <a:spcPct val="150000"/>
              </a:lnSpc>
            </a:pPr>
            <a:r>
              <a:rPr lang="en-US" altLang="zh-CN" sz="1000" dirty="0">
                <a:solidFill>
                  <a:schemeClr val="tx1">
                    <a:lumMod val="85000"/>
                    <a:lumOff val="15000"/>
                  </a:schemeClr>
                </a:solidFill>
                <a:latin typeface="微软雅黑" pitchFamily="34" charset="-122"/>
                <a:ea typeface="微软雅黑" pitchFamily="34" charset="-122"/>
              </a:rPr>
              <a:t>DS SOTRE  brings the new generation of premium experience for customers: well-trained technician and service personnel to provide the most professional service. </a:t>
            </a:r>
            <a:r>
              <a:rPr lang="en-US" altLang="zh-CN" sz="1000" dirty="0">
                <a:solidFill>
                  <a:schemeClr val="tx1">
                    <a:lumMod val="85000"/>
                    <a:lumOff val="15000"/>
                  </a:schemeClr>
                </a:solidFill>
                <a:latin typeface="微软雅黑" pitchFamily="34" charset="-122"/>
                <a:ea typeface="微软雅黑" pitchFamily="34" charset="-122"/>
                <a:sym typeface="微软雅黑" pitchFamily="34" charset="-122"/>
              </a:rPr>
              <a:t>Till now, CAPSA boasts </a:t>
            </a:r>
            <a:r>
              <a:rPr lang="en-US" altLang="zh-CN" sz="1400" b="1" dirty="0">
                <a:solidFill>
                  <a:srgbClr val="C00000"/>
                </a:solidFill>
                <a:latin typeface="微软雅黑" pitchFamily="34" charset="-122"/>
                <a:ea typeface="微软雅黑" pitchFamily="34" charset="-122"/>
                <a:sym typeface="微软雅黑" pitchFamily="34" charset="-122"/>
              </a:rPr>
              <a:t>92</a:t>
            </a:r>
            <a:r>
              <a:rPr lang="en-US" altLang="zh-CN" sz="1000" dirty="0">
                <a:solidFill>
                  <a:schemeClr val="tx1">
                    <a:lumMod val="85000"/>
                    <a:lumOff val="15000"/>
                  </a:schemeClr>
                </a:solidFill>
                <a:latin typeface="微软雅黑" pitchFamily="34" charset="-122"/>
                <a:ea typeface="微软雅黑" pitchFamily="34" charset="-122"/>
                <a:sym typeface="微软雅黑" pitchFamily="34" charset="-122"/>
              </a:rPr>
              <a:t>DS Stores and </a:t>
            </a:r>
            <a:r>
              <a:rPr lang="en-US" altLang="zh-CN" sz="1400" b="1" dirty="0">
                <a:solidFill>
                  <a:srgbClr val="C00000"/>
                </a:solidFill>
                <a:latin typeface="微软雅黑" pitchFamily="34" charset="-122"/>
                <a:ea typeface="微软雅黑" pitchFamily="34" charset="-122"/>
                <a:sym typeface="微软雅黑" pitchFamily="34" charset="-122"/>
              </a:rPr>
              <a:t>8</a:t>
            </a:r>
            <a:r>
              <a:rPr lang="en-US" altLang="zh-CN" sz="1000" dirty="0">
                <a:solidFill>
                  <a:schemeClr val="tx1">
                    <a:lumMod val="85000"/>
                    <a:lumOff val="15000"/>
                  </a:schemeClr>
                </a:solidFill>
                <a:latin typeface="微软雅黑" pitchFamily="34" charset="-122"/>
                <a:ea typeface="微软雅黑" pitchFamily="34" charset="-122"/>
                <a:sym typeface="微软雅黑" pitchFamily="34" charset="-122"/>
              </a:rPr>
              <a:t> City Formats in operation. </a:t>
            </a:r>
          </a:p>
        </p:txBody>
      </p:sp>
      <p:grpSp>
        <p:nvGrpSpPr>
          <p:cNvPr id="27" name="组合 26"/>
          <p:cNvGrpSpPr/>
          <p:nvPr/>
        </p:nvGrpSpPr>
        <p:grpSpPr>
          <a:xfrm>
            <a:off x="3418467" y="949424"/>
            <a:ext cx="5247405" cy="4572372"/>
            <a:chOff x="3418464" y="949424"/>
            <a:chExt cx="5247405" cy="4572372"/>
          </a:xfrm>
        </p:grpSpPr>
        <p:pic>
          <p:nvPicPr>
            <p:cNvPr id="3079" name="Picture 7"/>
            <p:cNvPicPr>
              <a:picLocks noChangeAspect="1" noChangeArrowheads="1"/>
            </p:cNvPicPr>
            <p:nvPr/>
          </p:nvPicPr>
          <p:blipFill rotWithShape="1">
            <a:blip r:embed="rId3">
              <a:extLst>
                <a:ext uri="{28A0092B-C50C-407E-A947-70E740481C1C}">
                  <a14:useLocalDpi xmlns:a14="http://schemas.microsoft.com/office/drawing/2010/main" val="0"/>
                </a:ext>
              </a:extLst>
            </a:blip>
            <a:srcRect r="2343"/>
            <a:stretch/>
          </p:blipFill>
          <p:spPr bwMode="auto">
            <a:xfrm>
              <a:off x="3430808" y="4098777"/>
              <a:ext cx="1426126" cy="14230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6847"/>
            <a:stretch/>
          </p:blipFill>
          <p:spPr bwMode="auto">
            <a:xfrm>
              <a:off x="6399789" y="4440815"/>
              <a:ext cx="1706228" cy="8593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组合 4"/>
            <p:cNvGrpSpPr/>
            <p:nvPr/>
          </p:nvGrpSpPr>
          <p:grpSpPr>
            <a:xfrm>
              <a:off x="3418464" y="1698278"/>
              <a:ext cx="4086059" cy="3162300"/>
              <a:chOff x="3387852" y="1756276"/>
              <a:chExt cx="4086059" cy="3162300"/>
            </a:xfrm>
          </p:grpSpPr>
          <p:grpSp>
            <p:nvGrpSpPr>
              <p:cNvPr id="59" name="组合 58"/>
              <p:cNvGrpSpPr/>
              <p:nvPr/>
            </p:nvGrpSpPr>
            <p:grpSpPr>
              <a:xfrm>
                <a:off x="3387852" y="1756276"/>
                <a:ext cx="4086059" cy="3162300"/>
                <a:chOff x="625475" y="1778000"/>
                <a:chExt cx="4086059" cy="3162300"/>
              </a:xfrm>
            </p:grpSpPr>
            <p:grpSp>
              <p:nvGrpSpPr>
                <p:cNvPr id="61" name="Group 2"/>
                <p:cNvGrpSpPr>
                  <a:grpSpLocks/>
                </p:cNvGrpSpPr>
                <p:nvPr/>
              </p:nvGrpSpPr>
              <p:grpSpPr bwMode="auto">
                <a:xfrm>
                  <a:off x="625475" y="1778000"/>
                  <a:ext cx="4086059" cy="3162300"/>
                  <a:chOff x="0" y="0"/>
                  <a:chExt cx="4987513" cy="3859300"/>
                </a:xfrm>
              </p:grpSpPr>
              <p:grpSp>
                <p:nvGrpSpPr>
                  <p:cNvPr id="92" name="Group 3"/>
                  <p:cNvGrpSpPr>
                    <a:grpSpLocks/>
                  </p:cNvGrpSpPr>
                  <p:nvPr/>
                </p:nvGrpSpPr>
                <p:grpSpPr bwMode="auto">
                  <a:xfrm>
                    <a:off x="0" y="0"/>
                    <a:ext cx="4987513" cy="3859300"/>
                    <a:chOff x="0" y="0"/>
                    <a:chExt cx="4987513" cy="3859300"/>
                  </a:xfrm>
                </p:grpSpPr>
                <p:grpSp>
                  <p:nvGrpSpPr>
                    <p:cNvPr id="122" name="Group 5"/>
                    <p:cNvGrpSpPr>
                      <a:grpSpLocks/>
                    </p:cNvGrpSpPr>
                    <p:nvPr/>
                  </p:nvGrpSpPr>
                  <p:grpSpPr bwMode="auto">
                    <a:xfrm>
                      <a:off x="0" y="0"/>
                      <a:ext cx="4987513" cy="3859300"/>
                      <a:chOff x="0" y="0"/>
                      <a:chExt cx="4376790" cy="3556292"/>
                    </a:xfrm>
                  </p:grpSpPr>
                  <p:sp>
                    <p:nvSpPr>
                      <p:cNvPr id="126" name="任意多边形 133"/>
                      <p:cNvSpPr>
                        <a:spLocks noChangeArrowheads="1"/>
                      </p:cNvSpPr>
                      <p:nvPr/>
                    </p:nvSpPr>
                    <p:spPr bwMode="auto">
                      <a:xfrm>
                        <a:off x="2600894" y="3374654"/>
                        <a:ext cx="231827" cy="181638"/>
                      </a:xfrm>
                      <a:custGeom>
                        <a:avLst/>
                        <a:gdLst>
                          <a:gd name="T0" fmla="*/ 0 w 1203215"/>
                          <a:gd name="T1" fmla="*/ 0 h 813442"/>
                          <a:gd name="T2" fmla="*/ 0 w 1203215"/>
                          <a:gd name="T3" fmla="*/ 0 h 813442"/>
                          <a:gd name="T4" fmla="*/ 0 w 1203215"/>
                          <a:gd name="T5" fmla="*/ 0 h 813442"/>
                          <a:gd name="T6" fmla="*/ 0 w 1203215"/>
                          <a:gd name="T7" fmla="*/ 0 h 813442"/>
                          <a:gd name="T8" fmla="*/ 0 w 1203215"/>
                          <a:gd name="T9" fmla="*/ 0 h 813442"/>
                          <a:gd name="T10" fmla="*/ 0 w 1203215"/>
                          <a:gd name="T11" fmla="*/ 0 h 813442"/>
                          <a:gd name="T12" fmla="*/ 0 w 1203215"/>
                          <a:gd name="T13" fmla="*/ 0 h 813442"/>
                          <a:gd name="T14" fmla="*/ 0 w 1203215"/>
                          <a:gd name="T15" fmla="*/ 0 h 813442"/>
                          <a:gd name="T16" fmla="*/ 0 w 1203215"/>
                          <a:gd name="T17" fmla="*/ 0 h 813442"/>
                          <a:gd name="T18" fmla="*/ 0 w 1203215"/>
                          <a:gd name="T19" fmla="*/ 0 h 813442"/>
                          <a:gd name="T20" fmla="*/ 0 w 1203215"/>
                          <a:gd name="T21" fmla="*/ 0 h 813442"/>
                          <a:gd name="T22" fmla="*/ 0 w 1203215"/>
                          <a:gd name="T23" fmla="*/ 0 h 813442"/>
                          <a:gd name="T24" fmla="*/ 0 w 1203215"/>
                          <a:gd name="T25" fmla="*/ 0 h 813442"/>
                          <a:gd name="T26" fmla="*/ 0 w 1203215"/>
                          <a:gd name="T27" fmla="*/ 0 h 813442"/>
                          <a:gd name="T28" fmla="*/ 0 w 1203215"/>
                          <a:gd name="T29" fmla="*/ 0 h 813442"/>
                          <a:gd name="T30" fmla="*/ 0 w 1203215"/>
                          <a:gd name="T31" fmla="*/ 0 h 813442"/>
                          <a:gd name="T32" fmla="*/ 0 w 1203215"/>
                          <a:gd name="T33" fmla="*/ 0 h 813442"/>
                          <a:gd name="T34" fmla="*/ 0 w 1203215"/>
                          <a:gd name="T35" fmla="*/ 0 h 813442"/>
                          <a:gd name="T36" fmla="*/ 0 w 1203215"/>
                          <a:gd name="T37" fmla="*/ 0 h 813442"/>
                          <a:gd name="T38" fmla="*/ 0 w 1203215"/>
                          <a:gd name="T39" fmla="*/ 0 h 813442"/>
                          <a:gd name="T40" fmla="*/ 0 w 1203215"/>
                          <a:gd name="T41" fmla="*/ 0 h 813442"/>
                          <a:gd name="T42" fmla="*/ 0 w 1203215"/>
                          <a:gd name="T43" fmla="*/ 0 h 813442"/>
                          <a:gd name="T44" fmla="*/ 0 w 1203215"/>
                          <a:gd name="T45" fmla="*/ 0 h 813442"/>
                          <a:gd name="T46" fmla="*/ 0 w 1203215"/>
                          <a:gd name="T47" fmla="*/ 0 h 813442"/>
                          <a:gd name="T48" fmla="*/ 0 w 1203215"/>
                          <a:gd name="T49" fmla="*/ 0 h 813442"/>
                          <a:gd name="T50" fmla="*/ 0 w 1203215"/>
                          <a:gd name="T51" fmla="*/ 0 h 813442"/>
                          <a:gd name="T52" fmla="*/ 0 w 1203215"/>
                          <a:gd name="T53" fmla="*/ 0 h 813442"/>
                          <a:gd name="T54" fmla="*/ 0 w 1203215"/>
                          <a:gd name="T55" fmla="*/ 0 h 813442"/>
                          <a:gd name="T56" fmla="*/ 0 w 1203215"/>
                          <a:gd name="T57" fmla="*/ 0 h 813442"/>
                          <a:gd name="T58" fmla="*/ 0 w 1203215"/>
                          <a:gd name="T59" fmla="*/ 0 h 813442"/>
                          <a:gd name="T60" fmla="*/ 0 w 1203215"/>
                          <a:gd name="T61" fmla="*/ 0 h 813442"/>
                          <a:gd name="T62" fmla="*/ 0 w 1203215"/>
                          <a:gd name="T63" fmla="*/ 0 h 813442"/>
                          <a:gd name="T64" fmla="*/ 0 w 1203215"/>
                          <a:gd name="T65" fmla="*/ 0 h 813442"/>
                          <a:gd name="T66" fmla="*/ 0 w 1203215"/>
                          <a:gd name="T67" fmla="*/ 0 h 813442"/>
                          <a:gd name="T68" fmla="*/ 0 w 1203215"/>
                          <a:gd name="T69" fmla="*/ 0 h 813442"/>
                          <a:gd name="T70" fmla="*/ 0 w 1203215"/>
                          <a:gd name="T71" fmla="*/ 0 h 813442"/>
                          <a:gd name="T72" fmla="*/ 0 w 1203215"/>
                          <a:gd name="T73" fmla="*/ 0 h 813442"/>
                          <a:gd name="T74" fmla="*/ 0 w 1203215"/>
                          <a:gd name="T75" fmla="*/ 0 h 813442"/>
                          <a:gd name="T76" fmla="*/ 0 w 1203215"/>
                          <a:gd name="T77" fmla="*/ 0 h 813442"/>
                          <a:gd name="T78" fmla="*/ 0 w 1203215"/>
                          <a:gd name="T79" fmla="*/ 0 h 813442"/>
                          <a:gd name="T80" fmla="*/ 0 w 1203215"/>
                          <a:gd name="T81" fmla="*/ 0 h 813442"/>
                          <a:gd name="T82" fmla="*/ 0 w 1203215"/>
                          <a:gd name="T83" fmla="*/ 0 h 813442"/>
                          <a:gd name="T84" fmla="*/ 0 w 1203215"/>
                          <a:gd name="T85" fmla="*/ 0 h 81344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03215"/>
                          <a:gd name="T130" fmla="*/ 0 h 813442"/>
                          <a:gd name="T131" fmla="*/ 1203215 w 1203215"/>
                          <a:gd name="T132" fmla="*/ 813442 h 81344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03215" h="813442">
                            <a:moveTo>
                              <a:pt x="837254" y="66482"/>
                            </a:moveTo>
                            <a:cubicBezTo>
                              <a:pt x="833912" y="69824"/>
                              <a:pt x="828370" y="78004"/>
                              <a:pt x="822215" y="81521"/>
                            </a:cubicBezTo>
                            <a:cubicBezTo>
                              <a:pt x="816233" y="84939"/>
                              <a:pt x="808787" y="84641"/>
                              <a:pt x="802162" y="86534"/>
                            </a:cubicBezTo>
                            <a:cubicBezTo>
                              <a:pt x="797081" y="87986"/>
                              <a:pt x="792289" y="90440"/>
                              <a:pt x="787122" y="91547"/>
                            </a:cubicBezTo>
                            <a:cubicBezTo>
                              <a:pt x="768854" y="95462"/>
                              <a:pt x="750063" y="96885"/>
                              <a:pt x="731978" y="101574"/>
                            </a:cubicBezTo>
                            <a:cubicBezTo>
                              <a:pt x="704862" y="108604"/>
                              <a:pt x="651767" y="126640"/>
                              <a:pt x="651767" y="126640"/>
                            </a:cubicBezTo>
                            <a:cubicBezTo>
                              <a:pt x="644613" y="125209"/>
                              <a:pt x="594818" y="119821"/>
                              <a:pt x="581583" y="106587"/>
                            </a:cubicBezTo>
                            <a:cubicBezTo>
                              <a:pt x="574693" y="99697"/>
                              <a:pt x="571556" y="89876"/>
                              <a:pt x="566543" y="81521"/>
                            </a:cubicBezTo>
                            <a:cubicBezTo>
                              <a:pt x="551504" y="83192"/>
                              <a:pt x="536263" y="83566"/>
                              <a:pt x="521425" y="86534"/>
                            </a:cubicBezTo>
                            <a:cubicBezTo>
                              <a:pt x="511062" y="88607"/>
                              <a:pt x="491346" y="96561"/>
                              <a:pt x="491346" y="96561"/>
                            </a:cubicBezTo>
                            <a:cubicBezTo>
                              <a:pt x="487941" y="101101"/>
                              <a:pt x="469945" y="124324"/>
                              <a:pt x="466280" y="131653"/>
                            </a:cubicBezTo>
                            <a:cubicBezTo>
                              <a:pt x="463917" y="136379"/>
                              <a:pt x="463889" y="142104"/>
                              <a:pt x="461267" y="146692"/>
                            </a:cubicBezTo>
                            <a:cubicBezTo>
                              <a:pt x="453320" y="160599"/>
                              <a:pt x="446520" y="166453"/>
                              <a:pt x="436201" y="176771"/>
                            </a:cubicBezTo>
                            <a:cubicBezTo>
                              <a:pt x="401109" y="175100"/>
                              <a:pt x="365785" y="176115"/>
                              <a:pt x="330925" y="171758"/>
                            </a:cubicBezTo>
                            <a:cubicBezTo>
                              <a:pt x="288518" y="166457"/>
                              <a:pt x="341750" y="153111"/>
                              <a:pt x="300846" y="166745"/>
                            </a:cubicBezTo>
                            <a:cubicBezTo>
                              <a:pt x="289561" y="183672"/>
                              <a:pt x="287482" y="184553"/>
                              <a:pt x="280793" y="206850"/>
                            </a:cubicBezTo>
                            <a:cubicBezTo>
                              <a:pt x="272944" y="233011"/>
                              <a:pt x="279590" y="226367"/>
                              <a:pt x="270767" y="246955"/>
                            </a:cubicBezTo>
                            <a:cubicBezTo>
                              <a:pt x="267823" y="253824"/>
                              <a:pt x="266025" y="261724"/>
                              <a:pt x="260741" y="267008"/>
                            </a:cubicBezTo>
                            <a:cubicBezTo>
                              <a:pt x="257004" y="270745"/>
                              <a:pt x="250953" y="271437"/>
                              <a:pt x="245701" y="272021"/>
                            </a:cubicBezTo>
                            <a:cubicBezTo>
                              <a:pt x="220733" y="274795"/>
                              <a:pt x="195570" y="275363"/>
                              <a:pt x="170504" y="277034"/>
                            </a:cubicBezTo>
                            <a:cubicBezTo>
                              <a:pt x="111863" y="288762"/>
                              <a:pt x="167516" y="272811"/>
                              <a:pt x="135412" y="292074"/>
                            </a:cubicBezTo>
                            <a:cubicBezTo>
                              <a:pt x="130881" y="294793"/>
                              <a:pt x="125320" y="295232"/>
                              <a:pt x="120372" y="297087"/>
                            </a:cubicBezTo>
                            <a:cubicBezTo>
                              <a:pt x="100530" y="304528"/>
                              <a:pt x="80817" y="311577"/>
                              <a:pt x="65228" y="327166"/>
                            </a:cubicBezTo>
                            <a:cubicBezTo>
                              <a:pt x="56873" y="335521"/>
                              <a:pt x="49994" y="345678"/>
                              <a:pt x="40162" y="352232"/>
                            </a:cubicBezTo>
                            <a:cubicBezTo>
                              <a:pt x="35149" y="355574"/>
                              <a:pt x="29656" y="358290"/>
                              <a:pt x="25122" y="362258"/>
                            </a:cubicBezTo>
                            <a:cubicBezTo>
                              <a:pt x="16230" y="370039"/>
                              <a:pt x="57" y="387324"/>
                              <a:pt x="57" y="387324"/>
                            </a:cubicBezTo>
                            <a:cubicBezTo>
                              <a:pt x="1728" y="405705"/>
                              <a:pt x="0" y="424721"/>
                              <a:pt x="5070" y="442468"/>
                            </a:cubicBezTo>
                            <a:cubicBezTo>
                              <a:pt x="7018" y="449285"/>
                              <a:pt x="16666" y="451310"/>
                              <a:pt x="20109" y="457508"/>
                            </a:cubicBezTo>
                            <a:cubicBezTo>
                              <a:pt x="25242" y="466747"/>
                              <a:pt x="27573" y="477334"/>
                              <a:pt x="30136" y="487587"/>
                            </a:cubicBezTo>
                            <a:cubicBezTo>
                              <a:pt x="39282" y="524172"/>
                              <a:pt x="33798" y="500884"/>
                              <a:pt x="45175" y="557771"/>
                            </a:cubicBezTo>
                            <a:cubicBezTo>
                              <a:pt x="43504" y="572811"/>
                              <a:pt x="42792" y="587988"/>
                              <a:pt x="40162" y="602890"/>
                            </a:cubicBezTo>
                            <a:cubicBezTo>
                              <a:pt x="37767" y="616460"/>
                              <a:pt x="30136" y="642995"/>
                              <a:pt x="30136" y="642995"/>
                            </a:cubicBezTo>
                            <a:cubicBezTo>
                              <a:pt x="31807" y="651350"/>
                              <a:pt x="30422" y="660971"/>
                              <a:pt x="35149" y="668061"/>
                            </a:cubicBezTo>
                            <a:cubicBezTo>
                              <a:pt x="50257" y="690723"/>
                              <a:pt x="76693" y="693414"/>
                              <a:pt x="100320" y="698140"/>
                            </a:cubicBezTo>
                            <a:cubicBezTo>
                              <a:pt x="105333" y="701482"/>
                              <a:pt x="109643" y="706261"/>
                              <a:pt x="115359" y="708166"/>
                            </a:cubicBezTo>
                            <a:cubicBezTo>
                              <a:pt x="125002" y="711380"/>
                              <a:pt x="135437" y="711361"/>
                              <a:pt x="145438" y="713179"/>
                            </a:cubicBezTo>
                            <a:cubicBezTo>
                              <a:pt x="168774" y="717422"/>
                              <a:pt x="169100" y="717841"/>
                              <a:pt x="190557" y="723205"/>
                            </a:cubicBezTo>
                            <a:cubicBezTo>
                              <a:pt x="195570" y="726547"/>
                              <a:pt x="201093" y="729229"/>
                              <a:pt x="205596" y="733232"/>
                            </a:cubicBezTo>
                            <a:cubicBezTo>
                              <a:pt x="216194" y="742652"/>
                              <a:pt x="235675" y="763311"/>
                              <a:pt x="235675" y="763311"/>
                            </a:cubicBezTo>
                            <a:cubicBezTo>
                              <a:pt x="245747" y="793527"/>
                              <a:pt x="232149" y="764549"/>
                              <a:pt x="260741" y="788376"/>
                            </a:cubicBezTo>
                            <a:cubicBezTo>
                              <a:pt x="265370" y="792233"/>
                              <a:pt x="266062" y="799652"/>
                              <a:pt x="270767" y="803416"/>
                            </a:cubicBezTo>
                            <a:cubicBezTo>
                              <a:pt x="274035" y="806031"/>
                              <a:pt x="304550" y="813115"/>
                              <a:pt x="305859" y="813442"/>
                            </a:cubicBezTo>
                            <a:cubicBezTo>
                              <a:pt x="327583" y="810100"/>
                              <a:pt x="349427" y="807466"/>
                              <a:pt x="371030" y="803416"/>
                            </a:cubicBezTo>
                            <a:cubicBezTo>
                              <a:pt x="376224" y="802442"/>
                              <a:pt x="380943" y="799685"/>
                              <a:pt x="386070" y="798403"/>
                            </a:cubicBezTo>
                            <a:cubicBezTo>
                              <a:pt x="394336" y="796337"/>
                              <a:pt x="402870" y="795457"/>
                              <a:pt x="411136" y="793390"/>
                            </a:cubicBezTo>
                            <a:cubicBezTo>
                              <a:pt x="416262" y="792108"/>
                              <a:pt x="420900" y="788696"/>
                              <a:pt x="426175" y="788376"/>
                            </a:cubicBezTo>
                            <a:cubicBezTo>
                              <a:pt x="476243" y="785341"/>
                              <a:pt x="526438" y="785034"/>
                              <a:pt x="576570" y="783363"/>
                            </a:cubicBezTo>
                            <a:cubicBezTo>
                              <a:pt x="583254" y="778350"/>
                              <a:pt x="591273" y="774742"/>
                              <a:pt x="596622" y="768324"/>
                            </a:cubicBezTo>
                            <a:cubicBezTo>
                              <a:pt x="600031" y="764233"/>
                              <a:pt x="605287" y="735615"/>
                              <a:pt x="606649" y="733232"/>
                            </a:cubicBezTo>
                            <a:cubicBezTo>
                              <a:pt x="610166" y="727076"/>
                              <a:pt x="614736" y="719582"/>
                              <a:pt x="621688" y="718192"/>
                            </a:cubicBezTo>
                            <a:cubicBezTo>
                              <a:pt x="649592" y="712611"/>
                              <a:pt x="678504" y="714850"/>
                              <a:pt x="706912" y="713179"/>
                            </a:cubicBezTo>
                            <a:cubicBezTo>
                              <a:pt x="711925" y="711508"/>
                              <a:pt x="717094" y="710247"/>
                              <a:pt x="721951" y="708166"/>
                            </a:cubicBezTo>
                            <a:cubicBezTo>
                              <a:pt x="728820" y="705222"/>
                              <a:pt x="734818" y="700193"/>
                              <a:pt x="742004" y="698140"/>
                            </a:cubicBezTo>
                            <a:cubicBezTo>
                              <a:pt x="758390" y="693458"/>
                              <a:pt x="775425" y="691455"/>
                              <a:pt x="792136" y="688113"/>
                            </a:cubicBezTo>
                            <a:cubicBezTo>
                              <a:pt x="802499" y="686040"/>
                              <a:pt x="822215" y="678087"/>
                              <a:pt x="822215" y="678087"/>
                            </a:cubicBezTo>
                            <a:cubicBezTo>
                              <a:pt x="823886" y="673074"/>
                              <a:pt x="822928" y="666119"/>
                              <a:pt x="827228" y="663047"/>
                            </a:cubicBezTo>
                            <a:cubicBezTo>
                              <a:pt x="835828" y="656904"/>
                              <a:pt x="857307" y="653021"/>
                              <a:pt x="857307" y="653021"/>
                            </a:cubicBezTo>
                            <a:cubicBezTo>
                              <a:pt x="862320" y="649679"/>
                              <a:pt x="866957" y="645689"/>
                              <a:pt x="872346" y="642995"/>
                            </a:cubicBezTo>
                            <a:cubicBezTo>
                              <a:pt x="877073" y="640632"/>
                              <a:pt x="882855" y="640701"/>
                              <a:pt x="887386" y="637982"/>
                            </a:cubicBezTo>
                            <a:cubicBezTo>
                              <a:pt x="900811" y="629927"/>
                              <a:pt x="894577" y="622633"/>
                              <a:pt x="912451" y="617929"/>
                            </a:cubicBezTo>
                            <a:cubicBezTo>
                              <a:pt x="938758" y="611006"/>
                              <a:pt x="965925" y="607903"/>
                              <a:pt x="992662" y="602890"/>
                            </a:cubicBezTo>
                            <a:cubicBezTo>
                              <a:pt x="978599" y="504454"/>
                              <a:pt x="969729" y="512548"/>
                              <a:pt x="987649" y="427429"/>
                            </a:cubicBezTo>
                            <a:cubicBezTo>
                              <a:pt x="990426" y="414237"/>
                              <a:pt x="1001887" y="391335"/>
                              <a:pt x="1012715" y="382311"/>
                            </a:cubicBezTo>
                            <a:cubicBezTo>
                              <a:pt x="1016774" y="378928"/>
                              <a:pt x="1022656" y="378687"/>
                              <a:pt x="1027754" y="377297"/>
                            </a:cubicBezTo>
                            <a:cubicBezTo>
                              <a:pt x="1041048" y="373671"/>
                              <a:pt x="1054491" y="370613"/>
                              <a:pt x="1067859" y="367271"/>
                            </a:cubicBezTo>
                            <a:cubicBezTo>
                              <a:pt x="1076214" y="362258"/>
                              <a:pt x="1085527" y="358573"/>
                              <a:pt x="1092925" y="352232"/>
                            </a:cubicBezTo>
                            <a:cubicBezTo>
                              <a:pt x="1097500" y="348311"/>
                              <a:pt x="1099187" y="341897"/>
                              <a:pt x="1102951" y="337192"/>
                            </a:cubicBezTo>
                            <a:cubicBezTo>
                              <a:pt x="1105904" y="333501"/>
                              <a:pt x="1110231" y="331012"/>
                              <a:pt x="1112978" y="327166"/>
                            </a:cubicBezTo>
                            <a:cubicBezTo>
                              <a:pt x="1118289" y="319730"/>
                              <a:pt x="1134069" y="292378"/>
                              <a:pt x="1138043" y="282047"/>
                            </a:cubicBezTo>
                            <a:cubicBezTo>
                              <a:pt x="1143734" y="267251"/>
                              <a:pt x="1143759" y="249750"/>
                              <a:pt x="1153083" y="236929"/>
                            </a:cubicBezTo>
                            <a:cubicBezTo>
                              <a:pt x="1155001" y="234292"/>
                              <a:pt x="1186085" y="224258"/>
                              <a:pt x="1193188" y="221890"/>
                            </a:cubicBezTo>
                            <a:cubicBezTo>
                              <a:pt x="1196530" y="215206"/>
                              <a:pt x="1203215" y="209310"/>
                              <a:pt x="1203215" y="201837"/>
                            </a:cubicBezTo>
                            <a:cubicBezTo>
                              <a:pt x="1203215" y="173233"/>
                              <a:pt x="1198089" y="144794"/>
                              <a:pt x="1193188" y="116613"/>
                            </a:cubicBezTo>
                            <a:cubicBezTo>
                              <a:pt x="1191377" y="106201"/>
                              <a:pt x="1188763" y="95496"/>
                              <a:pt x="1183162" y="86534"/>
                            </a:cubicBezTo>
                            <a:cubicBezTo>
                              <a:pt x="1179969" y="81425"/>
                              <a:pt x="1173838" y="78413"/>
                              <a:pt x="1168122" y="76508"/>
                            </a:cubicBezTo>
                            <a:cubicBezTo>
                              <a:pt x="1158479" y="73294"/>
                              <a:pt x="1148169" y="72376"/>
                              <a:pt x="1138043" y="71495"/>
                            </a:cubicBezTo>
                            <a:cubicBezTo>
                              <a:pt x="1109693" y="69030"/>
                              <a:pt x="1081228" y="68153"/>
                              <a:pt x="1052820" y="66482"/>
                            </a:cubicBezTo>
                            <a:cubicBezTo>
                              <a:pt x="1047807" y="61469"/>
                              <a:pt x="1043227" y="55981"/>
                              <a:pt x="1037780" y="51442"/>
                            </a:cubicBezTo>
                            <a:cubicBezTo>
                              <a:pt x="1033152" y="47585"/>
                              <a:pt x="1026505" y="46121"/>
                              <a:pt x="1022741" y="41416"/>
                            </a:cubicBezTo>
                            <a:cubicBezTo>
                              <a:pt x="1019440" y="37289"/>
                              <a:pt x="1019180" y="31457"/>
                              <a:pt x="1017728" y="26376"/>
                            </a:cubicBezTo>
                            <a:cubicBezTo>
                              <a:pt x="1015835" y="19751"/>
                              <a:pt x="1017019" y="11704"/>
                              <a:pt x="1012715" y="6324"/>
                            </a:cubicBezTo>
                            <a:cubicBezTo>
                              <a:pt x="1009414" y="2198"/>
                              <a:pt x="1002688" y="2982"/>
                              <a:pt x="997675" y="1311"/>
                            </a:cubicBezTo>
                            <a:cubicBezTo>
                              <a:pt x="963185" y="12808"/>
                              <a:pt x="1004885" y="0"/>
                              <a:pt x="942530" y="11337"/>
                            </a:cubicBezTo>
                            <a:cubicBezTo>
                              <a:pt x="934788" y="12745"/>
                              <a:pt x="905431" y="25374"/>
                              <a:pt x="902425" y="26376"/>
                            </a:cubicBezTo>
                            <a:cubicBezTo>
                              <a:pt x="895888" y="28555"/>
                              <a:pt x="889056" y="29719"/>
                              <a:pt x="882372" y="31390"/>
                            </a:cubicBezTo>
                            <a:cubicBezTo>
                              <a:pt x="861277" y="44047"/>
                              <a:pt x="856885" y="43927"/>
                              <a:pt x="842267" y="61468"/>
                            </a:cubicBezTo>
                            <a:cubicBezTo>
                              <a:pt x="828575" y="77898"/>
                              <a:pt x="840596" y="63140"/>
                              <a:pt x="837254" y="66482"/>
                            </a:cubicBez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27" name="Freeform 11"/>
                      <p:cNvSpPr>
                        <a:spLocks noChangeArrowheads="1"/>
                      </p:cNvSpPr>
                      <p:nvPr/>
                    </p:nvSpPr>
                    <p:spPr bwMode="auto">
                      <a:xfrm>
                        <a:off x="0" y="309105"/>
                        <a:ext cx="1746551" cy="1341575"/>
                      </a:xfrm>
                      <a:custGeom>
                        <a:avLst/>
                        <a:gdLst>
                          <a:gd name="T0" fmla="*/ 2147483647 w 943"/>
                          <a:gd name="T1" fmla="*/ 2147483647 h 630"/>
                          <a:gd name="T2" fmla="*/ 2147483647 w 943"/>
                          <a:gd name="T3" fmla="*/ 2147483647 h 630"/>
                          <a:gd name="T4" fmla="*/ 2147483647 w 943"/>
                          <a:gd name="T5" fmla="*/ 2147483647 h 630"/>
                          <a:gd name="T6" fmla="*/ 2147483647 w 943"/>
                          <a:gd name="T7" fmla="*/ 2147483647 h 630"/>
                          <a:gd name="T8" fmla="*/ 2147483647 w 943"/>
                          <a:gd name="T9" fmla="*/ 2147483647 h 630"/>
                          <a:gd name="T10" fmla="*/ 2147483647 w 943"/>
                          <a:gd name="T11" fmla="*/ 2147483647 h 630"/>
                          <a:gd name="T12" fmla="*/ 2147483647 w 943"/>
                          <a:gd name="T13" fmla="*/ 2147483647 h 630"/>
                          <a:gd name="T14" fmla="*/ 2147483647 w 943"/>
                          <a:gd name="T15" fmla="*/ 2147483647 h 630"/>
                          <a:gd name="T16" fmla="*/ 2147483647 w 943"/>
                          <a:gd name="T17" fmla="*/ 2147483647 h 630"/>
                          <a:gd name="T18" fmla="*/ 2147483647 w 943"/>
                          <a:gd name="T19" fmla="*/ 2147483647 h 630"/>
                          <a:gd name="T20" fmla="*/ 2147483647 w 943"/>
                          <a:gd name="T21" fmla="*/ 2147483647 h 630"/>
                          <a:gd name="T22" fmla="*/ 2147483647 w 943"/>
                          <a:gd name="T23" fmla="*/ 2147483647 h 630"/>
                          <a:gd name="T24" fmla="*/ 2147483647 w 943"/>
                          <a:gd name="T25" fmla="*/ 2147483647 h 630"/>
                          <a:gd name="T26" fmla="*/ 2147483647 w 943"/>
                          <a:gd name="T27" fmla="*/ 2147483647 h 630"/>
                          <a:gd name="T28" fmla="*/ 2147483647 w 943"/>
                          <a:gd name="T29" fmla="*/ 2147483647 h 630"/>
                          <a:gd name="T30" fmla="*/ 2147483647 w 943"/>
                          <a:gd name="T31" fmla="*/ 2147483647 h 630"/>
                          <a:gd name="T32" fmla="*/ 2147483647 w 943"/>
                          <a:gd name="T33" fmla="*/ 2147483647 h 630"/>
                          <a:gd name="T34" fmla="*/ 2147483647 w 943"/>
                          <a:gd name="T35" fmla="*/ 2147483647 h 630"/>
                          <a:gd name="T36" fmla="*/ 2147483647 w 943"/>
                          <a:gd name="T37" fmla="*/ 2147483647 h 630"/>
                          <a:gd name="T38" fmla="*/ 2147483647 w 943"/>
                          <a:gd name="T39" fmla="*/ 2147483647 h 630"/>
                          <a:gd name="T40" fmla="*/ 2147483647 w 943"/>
                          <a:gd name="T41" fmla="*/ 2147483647 h 630"/>
                          <a:gd name="T42" fmla="*/ 2147483647 w 943"/>
                          <a:gd name="T43" fmla="*/ 2147483647 h 630"/>
                          <a:gd name="T44" fmla="*/ 2147483647 w 943"/>
                          <a:gd name="T45" fmla="*/ 2147483647 h 630"/>
                          <a:gd name="T46" fmla="*/ 2147483647 w 943"/>
                          <a:gd name="T47" fmla="*/ 2147483647 h 630"/>
                          <a:gd name="T48" fmla="*/ 2147483647 w 943"/>
                          <a:gd name="T49" fmla="*/ 2147483647 h 630"/>
                          <a:gd name="T50" fmla="*/ 2147483647 w 943"/>
                          <a:gd name="T51" fmla="*/ 2147483647 h 630"/>
                          <a:gd name="T52" fmla="*/ 2147483647 w 943"/>
                          <a:gd name="T53" fmla="*/ 2147483647 h 630"/>
                          <a:gd name="T54" fmla="*/ 2147483647 w 943"/>
                          <a:gd name="T55" fmla="*/ 2147483647 h 630"/>
                          <a:gd name="T56" fmla="*/ 2147483647 w 943"/>
                          <a:gd name="T57" fmla="*/ 2147483647 h 630"/>
                          <a:gd name="T58" fmla="*/ 2147483647 w 943"/>
                          <a:gd name="T59" fmla="*/ 2147483647 h 630"/>
                          <a:gd name="T60" fmla="*/ 2147483647 w 943"/>
                          <a:gd name="T61" fmla="*/ 2147483647 h 630"/>
                          <a:gd name="T62" fmla="*/ 2147483647 w 943"/>
                          <a:gd name="T63" fmla="*/ 2147483647 h 630"/>
                          <a:gd name="T64" fmla="*/ 2147483647 w 943"/>
                          <a:gd name="T65" fmla="*/ 2147483647 h 630"/>
                          <a:gd name="T66" fmla="*/ 2147483647 w 943"/>
                          <a:gd name="T67" fmla="*/ 2147483647 h 630"/>
                          <a:gd name="T68" fmla="*/ 2147483647 w 943"/>
                          <a:gd name="T69" fmla="*/ 2147483647 h 630"/>
                          <a:gd name="T70" fmla="*/ 2147483647 w 943"/>
                          <a:gd name="T71" fmla="*/ 2147483647 h 630"/>
                          <a:gd name="T72" fmla="*/ 2147483647 w 943"/>
                          <a:gd name="T73" fmla="*/ 2147483647 h 630"/>
                          <a:gd name="T74" fmla="*/ 2147483647 w 943"/>
                          <a:gd name="T75" fmla="*/ 2147483647 h 630"/>
                          <a:gd name="T76" fmla="*/ 2147483647 w 943"/>
                          <a:gd name="T77" fmla="*/ 2147483647 h 630"/>
                          <a:gd name="T78" fmla="*/ 2147483647 w 943"/>
                          <a:gd name="T79" fmla="*/ 2147483647 h 630"/>
                          <a:gd name="T80" fmla="*/ 2147483647 w 943"/>
                          <a:gd name="T81" fmla="*/ 2147483647 h 630"/>
                          <a:gd name="T82" fmla="*/ 2147483647 w 943"/>
                          <a:gd name="T83" fmla="*/ 2147483647 h 630"/>
                          <a:gd name="T84" fmla="*/ 2147483647 w 943"/>
                          <a:gd name="T85" fmla="*/ 2147483647 h 630"/>
                          <a:gd name="T86" fmla="*/ 2147483647 w 943"/>
                          <a:gd name="T87" fmla="*/ 2147483647 h 630"/>
                          <a:gd name="T88" fmla="*/ 2147483647 w 943"/>
                          <a:gd name="T89" fmla="*/ 2147483647 h 630"/>
                          <a:gd name="T90" fmla="*/ 2147483647 w 943"/>
                          <a:gd name="T91" fmla="*/ 2147483647 h 630"/>
                          <a:gd name="T92" fmla="*/ 2147483647 w 943"/>
                          <a:gd name="T93" fmla="*/ 2147483647 h 630"/>
                          <a:gd name="T94" fmla="*/ 2147483647 w 943"/>
                          <a:gd name="T95" fmla="*/ 2147483647 h 630"/>
                          <a:gd name="T96" fmla="*/ 2147483647 w 943"/>
                          <a:gd name="T97" fmla="*/ 2147483647 h 630"/>
                          <a:gd name="T98" fmla="*/ 2147483647 w 943"/>
                          <a:gd name="T99" fmla="*/ 2147483647 h 630"/>
                          <a:gd name="T100" fmla="*/ 2147483647 w 943"/>
                          <a:gd name="T101" fmla="*/ 2147483647 h 630"/>
                          <a:gd name="T102" fmla="*/ 2147483647 w 943"/>
                          <a:gd name="T103" fmla="*/ 2147483647 h 630"/>
                          <a:gd name="T104" fmla="*/ 2147483647 w 943"/>
                          <a:gd name="T105" fmla="*/ 2147483647 h 630"/>
                          <a:gd name="T106" fmla="*/ 2147483647 w 943"/>
                          <a:gd name="T107" fmla="*/ 2147483647 h 630"/>
                          <a:gd name="T108" fmla="*/ 2147483647 w 943"/>
                          <a:gd name="T109" fmla="*/ 2147483647 h 630"/>
                          <a:gd name="T110" fmla="*/ 2147483647 w 943"/>
                          <a:gd name="T111" fmla="*/ 2147483647 h 630"/>
                          <a:gd name="T112" fmla="*/ 2147483647 w 943"/>
                          <a:gd name="T113" fmla="*/ 2147483647 h 630"/>
                          <a:gd name="T114" fmla="*/ 2147483647 w 943"/>
                          <a:gd name="T115" fmla="*/ 2147483647 h 630"/>
                          <a:gd name="T116" fmla="*/ 2147483647 w 943"/>
                          <a:gd name="T117" fmla="*/ 2147483647 h 630"/>
                          <a:gd name="T118" fmla="*/ 2147483647 w 943"/>
                          <a:gd name="T119" fmla="*/ 2147483647 h 630"/>
                          <a:gd name="T120" fmla="*/ 2147483647 w 943"/>
                          <a:gd name="T121" fmla="*/ 2147483647 h 63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3"/>
                          <a:gd name="T184" fmla="*/ 0 h 630"/>
                          <a:gd name="T185" fmla="*/ 943 w 943"/>
                          <a:gd name="T186" fmla="*/ 630 h 63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3" h="630">
                            <a:moveTo>
                              <a:pt x="136" y="601"/>
                            </a:moveTo>
                            <a:lnTo>
                              <a:pt x="144" y="598"/>
                            </a:lnTo>
                            <a:lnTo>
                              <a:pt x="156" y="602"/>
                            </a:lnTo>
                            <a:lnTo>
                              <a:pt x="166" y="603"/>
                            </a:lnTo>
                            <a:lnTo>
                              <a:pt x="176" y="602"/>
                            </a:lnTo>
                            <a:lnTo>
                              <a:pt x="183" y="592"/>
                            </a:lnTo>
                            <a:lnTo>
                              <a:pt x="193" y="579"/>
                            </a:lnTo>
                            <a:lnTo>
                              <a:pt x="206" y="577"/>
                            </a:lnTo>
                            <a:lnTo>
                              <a:pt x="206" y="569"/>
                            </a:lnTo>
                            <a:lnTo>
                              <a:pt x="216" y="568"/>
                            </a:lnTo>
                            <a:lnTo>
                              <a:pt x="237" y="578"/>
                            </a:lnTo>
                            <a:lnTo>
                              <a:pt x="257" y="580"/>
                            </a:lnTo>
                            <a:lnTo>
                              <a:pt x="260" y="587"/>
                            </a:lnTo>
                            <a:lnTo>
                              <a:pt x="268" y="589"/>
                            </a:lnTo>
                            <a:lnTo>
                              <a:pt x="285" y="584"/>
                            </a:lnTo>
                            <a:lnTo>
                              <a:pt x="300" y="577"/>
                            </a:lnTo>
                            <a:lnTo>
                              <a:pt x="306" y="577"/>
                            </a:lnTo>
                            <a:lnTo>
                              <a:pt x="315" y="580"/>
                            </a:lnTo>
                            <a:lnTo>
                              <a:pt x="324" y="580"/>
                            </a:lnTo>
                            <a:lnTo>
                              <a:pt x="321" y="589"/>
                            </a:lnTo>
                            <a:lnTo>
                              <a:pt x="326" y="598"/>
                            </a:lnTo>
                            <a:lnTo>
                              <a:pt x="335" y="598"/>
                            </a:lnTo>
                            <a:lnTo>
                              <a:pt x="344" y="602"/>
                            </a:lnTo>
                            <a:lnTo>
                              <a:pt x="350" y="605"/>
                            </a:lnTo>
                            <a:lnTo>
                              <a:pt x="360" y="602"/>
                            </a:lnTo>
                            <a:lnTo>
                              <a:pt x="371" y="608"/>
                            </a:lnTo>
                            <a:lnTo>
                              <a:pt x="382" y="607"/>
                            </a:lnTo>
                            <a:lnTo>
                              <a:pt x="389" y="603"/>
                            </a:lnTo>
                            <a:lnTo>
                              <a:pt x="403" y="602"/>
                            </a:lnTo>
                            <a:lnTo>
                              <a:pt x="412" y="602"/>
                            </a:lnTo>
                            <a:lnTo>
                              <a:pt x="421" y="599"/>
                            </a:lnTo>
                            <a:lnTo>
                              <a:pt x="432" y="610"/>
                            </a:lnTo>
                            <a:lnTo>
                              <a:pt x="453" y="605"/>
                            </a:lnTo>
                            <a:lnTo>
                              <a:pt x="463" y="593"/>
                            </a:lnTo>
                            <a:lnTo>
                              <a:pt x="481" y="591"/>
                            </a:lnTo>
                            <a:lnTo>
                              <a:pt x="493" y="591"/>
                            </a:lnTo>
                            <a:lnTo>
                              <a:pt x="499" y="593"/>
                            </a:lnTo>
                            <a:lnTo>
                              <a:pt x="510" y="589"/>
                            </a:lnTo>
                            <a:lnTo>
                              <a:pt x="523" y="596"/>
                            </a:lnTo>
                            <a:lnTo>
                              <a:pt x="538" y="596"/>
                            </a:lnTo>
                            <a:lnTo>
                              <a:pt x="551" y="594"/>
                            </a:lnTo>
                            <a:lnTo>
                              <a:pt x="560" y="593"/>
                            </a:lnTo>
                            <a:lnTo>
                              <a:pt x="570" y="597"/>
                            </a:lnTo>
                            <a:lnTo>
                              <a:pt x="571" y="603"/>
                            </a:lnTo>
                            <a:lnTo>
                              <a:pt x="587" y="607"/>
                            </a:lnTo>
                            <a:lnTo>
                              <a:pt x="597" y="613"/>
                            </a:lnTo>
                            <a:lnTo>
                              <a:pt x="608" y="620"/>
                            </a:lnTo>
                            <a:lnTo>
                              <a:pt x="615" y="621"/>
                            </a:lnTo>
                            <a:lnTo>
                              <a:pt x="625" y="618"/>
                            </a:lnTo>
                            <a:lnTo>
                              <a:pt x="630" y="615"/>
                            </a:lnTo>
                            <a:lnTo>
                              <a:pt x="642" y="624"/>
                            </a:lnTo>
                            <a:lnTo>
                              <a:pt x="649" y="625"/>
                            </a:lnTo>
                            <a:lnTo>
                              <a:pt x="657" y="630"/>
                            </a:lnTo>
                            <a:lnTo>
                              <a:pt x="667" y="630"/>
                            </a:lnTo>
                            <a:lnTo>
                              <a:pt x="672" y="626"/>
                            </a:lnTo>
                            <a:lnTo>
                              <a:pt x="669" y="620"/>
                            </a:lnTo>
                            <a:lnTo>
                              <a:pt x="670" y="612"/>
                            </a:lnTo>
                            <a:lnTo>
                              <a:pt x="660" y="606"/>
                            </a:lnTo>
                            <a:lnTo>
                              <a:pt x="659" y="598"/>
                            </a:lnTo>
                            <a:lnTo>
                              <a:pt x="665" y="592"/>
                            </a:lnTo>
                            <a:lnTo>
                              <a:pt x="676" y="589"/>
                            </a:lnTo>
                            <a:lnTo>
                              <a:pt x="686" y="588"/>
                            </a:lnTo>
                            <a:lnTo>
                              <a:pt x="682" y="575"/>
                            </a:lnTo>
                            <a:lnTo>
                              <a:pt x="684" y="569"/>
                            </a:lnTo>
                            <a:lnTo>
                              <a:pt x="675" y="567"/>
                            </a:lnTo>
                            <a:lnTo>
                              <a:pt x="671" y="558"/>
                            </a:lnTo>
                            <a:lnTo>
                              <a:pt x="663" y="553"/>
                            </a:lnTo>
                            <a:lnTo>
                              <a:pt x="657" y="546"/>
                            </a:lnTo>
                            <a:lnTo>
                              <a:pt x="662" y="539"/>
                            </a:lnTo>
                            <a:lnTo>
                              <a:pt x="657" y="527"/>
                            </a:lnTo>
                            <a:lnTo>
                              <a:pt x="650" y="520"/>
                            </a:lnTo>
                            <a:lnTo>
                              <a:pt x="658" y="515"/>
                            </a:lnTo>
                            <a:lnTo>
                              <a:pt x="665" y="517"/>
                            </a:lnTo>
                            <a:lnTo>
                              <a:pt x="674" y="511"/>
                            </a:lnTo>
                            <a:lnTo>
                              <a:pt x="689" y="512"/>
                            </a:lnTo>
                            <a:lnTo>
                              <a:pt x="705" y="510"/>
                            </a:lnTo>
                            <a:lnTo>
                              <a:pt x="711" y="506"/>
                            </a:lnTo>
                            <a:lnTo>
                              <a:pt x="727" y="507"/>
                            </a:lnTo>
                            <a:lnTo>
                              <a:pt x="739" y="504"/>
                            </a:lnTo>
                            <a:lnTo>
                              <a:pt x="752" y="501"/>
                            </a:lnTo>
                            <a:lnTo>
                              <a:pt x="762" y="501"/>
                            </a:lnTo>
                            <a:lnTo>
                              <a:pt x="769" y="501"/>
                            </a:lnTo>
                            <a:lnTo>
                              <a:pt x="777" y="492"/>
                            </a:lnTo>
                            <a:lnTo>
                              <a:pt x="774" y="483"/>
                            </a:lnTo>
                            <a:lnTo>
                              <a:pt x="773" y="475"/>
                            </a:lnTo>
                            <a:lnTo>
                              <a:pt x="771" y="468"/>
                            </a:lnTo>
                            <a:lnTo>
                              <a:pt x="773" y="461"/>
                            </a:lnTo>
                            <a:lnTo>
                              <a:pt x="779" y="456"/>
                            </a:lnTo>
                            <a:lnTo>
                              <a:pt x="782" y="447"/>
                            </a:lnTo>
                            <a:lnTo>
                              <a:pt x="782" y="440"/>
                            </a:lnTo>
                            <a:lnTo>
                              <a:pt x="793" y="439"/>
                            </a:lnTo>
                            <a:lnTo>
                              <a:pt x="808" y="441"/>
                            </a:lnTo>
                            <a:lnTo>
                              <a:pt x="823" y="428"/>
                            </a:lnTo>
                            <a:lnTo>
                              <a:pt x="828" y="418"/>
                            </a:lnTo>
                            <a:lnTo>
                              <a:pt x="846" y="409"/>
                            </a:lnTo>
                            <a:lnTo>
                              <a:pt x="859" y="399"/>
                            </a:lnTo>
                            <a:lnTo>
                              <a:pt x="881" y="392"/>
                            </a:lnTo>
                            <a:lnTo>
                              <a:pt x="898" y="388"/>
                            </a:lnTo>
                            <a:lnTo>
                              <a:pt x="907" y="390"/>
                            </a:lnTo>
                            <a:lnTo>
                              <a:pt x="917" y="390"/>
                            </a:lnTo>
                            <a:lnTo>
                              <a:pt x="922" y="387"/>
                            </a:lnTo>
                            <a:lnTo>
                              <a:pt x="925" y="382"/>
                            </a:lnTo>
                            <a:lnTo>
                              <a:pt x="926" y="368"/>
                            </a:lnTo>
                            <a:lnTo>
                              <a:pt x="926" y="360"/>
                            </a:lnTo>
                            <a:lnTo>
                              <a:pt x="932" y="352"/>
                            </a:lnTo>
                            <a:lnTo>
                              <a:pt x="940" y="352"/>
                            </a:lnTo>
                            <a:lnTo>
                              <a:pt x="943" y="342"/>
                            </a:lnTo>
                            <a:lnTo>
                              <a:pt x="938" y="335"/>
                            </a:lnTo>
                            <a:lnTo>
                              <a:pt x="930" y="330"/>
                            </a:lnTo>
                            <a:lnTo>
                              <a:pt x="920" y="289"/>
                            </a:lnTo>
                            <a:lnTo>
                              <a:pt x="912" y="285"/>
                            </a:lnTo>
                            <a:lnTo>
                              <a:pt x="916" y="274"/>
                            </a:lnTo>
                            <a:lnTo>
                              <a:pt x="906" y="271"/>
                            </a:lnTo>
                            <a:lnTo>
                              <a:pt x="897" y="271"/>
                            </a:lnTo>
                            <a:lnTo>
                              <a:pt x="876" y="250"/>
                            </a:lnTo>
                            <a:lnTo>
                              <a:pt x="865" y="242"/>
                            </a:lnTo>
                            <a:lnTo>
                              <a:pt x="853" y="232"/>
                            </a:lnTo>
                            <a:lnTo>
                              <a:pt x="835" y="228"/>
                            </a:lnTo>
                            <a:lnTo>
                              <a:pt x="821" y="226"/>
                            </a:lnTo>
                            <a:lnTo>
                              <a:pt x="810" y="225"/>
                            </a:lnTo>
                            <a:lnTo>
                              <a:pt x="798" y="223"/>
                            </a:lnTo>
                            <a:lnTo>
                              <a:pt x="796" y="217"/>
                            </a:lnTo>
                            <a:lnTo>
                              <a:pt x="784" y="217"/>
                            </a:lnTo>
                            <a:lnTo>
                              <a:pt x="779" y="214"/>
                            </a:lnTo>
                            <a:lnTo>
                              <a:pt x="769" y="212"/>
                            </a:lnTo>
                            <a:lnTo>
                              <a:pt x="766" y="207"/>
                            </a:lnTo>
                            <a:lnTo>
                              <a:pt x="759" y="207"/>
                            </a:lnTo>
                            <a:lnTo>
                              <a:pt x="752" y="204"/>
                            </a:lnTo>
                            <a:lnTo>
                              <a:pt x="752" y="194"/>
                            </a:lnTo>
                            <a:lnTo>
                              <a:pt x="748" y="189"/>
                            </a:lnTo>
                            <a:lnTo>
                              <a:pt x="749" y="181"/>
                            </a:lnTo>
                            <a:lnTo>
                              <a:pt x="757" y="174"/>
                            </a:lnTo>
                            <a:lnTo>
                              <a:pt x="768" y="170"/>
                            </a:lnTo>
                            <a:lnTo>
                              <a:pt x="767" y="161"/>
                            </a:lnTo>
                            <a:lnTo>
                              <a:pt x="766" y="154"/>
                            </a:lnTo>
                            <a:lnTo>
                              <a:pt x="769" y="146"/>
                            </a:lnTo>
                            <a:lnTo>
                              <a:pt x="774" y="143"/>
                            </a:lnTo>
                            <a:lnTo>
                              <a:pt x="773" y="136"/>
                            </a:lnTo>
                            <a:lnTo>
                              <a:pt x="774" y="127"/>
                            </a:lnTo>
                            <a:lnTo>
                              <a:pt x="769" y="123"/>
                            </a:lnTo>
                            <a:lnTo>
                              <a:pt x="764" y="116"/>
                            </a:lnTo>
                            <a:lnTo>
                              <a:pt x="763" y="102"/>
                            </a:lnTo>
                            <a:lnTo>
                              <a:pt x="762" y="94"/>
                            </a:lnTo>
                            <a:lnTo>
                              <a:pt x="761" y="86"/>
                            </a:lnTo>
                            <a:lnTo>
                              <a:pt x="752" y="80"/>
                            </a:lnTo>
                            <a:lnTo>
                              <a:pt x="744" y="79"/>
                            </a:lnTo>
                            <a:lnTo>
                              <a:pt x="739" y="76"/>
                            </a:lnTo>
                            <a:lnTo>
                              <a:pt x="738" y="69"/>
                            </a:lnTo>
                            <a:lnTo>
                              <a:pt x="727" y="67"/>
                            </a:lnTo>
                            <a:lnTo>
                              <a:pt x="720" y="67"/>
                            </a:lnTo>
                            <a:lnTo>
                              <a:pt x="714" y="64"/>
                            </a:lnTo>
                            <a:lnTo>
                              <a:pt x="709" y="59"/>
                            </a:lnTo>
                            <a:lnTo>
                              <a:pt x="704" y="55"/>
                            </a:lnTo>
                            <a:lnTo>
                              <a:pt x="701" y="48"/>
                            </a:lnTo>
                            <a:lnTo>
                              <a:pt x="696" y="37"/>
                            </a:lnTo>
                            <a:lnTo>
                              <a:pt x="685" y="35"/>
                            </a:lnTo>
                            <a:lnTo>
                              <a:pt x="690" y="28"/>
                            </a:lnTo>
                            <a:lnTo>
                              <a:pt x="680" y="21"/>
                            </a:lnTo>
                            <a:lnTo>
                              <a:pt x="677" y="10"/>
                            </a:lnTo>
                            <a:lnTo>
                              <a:pt x="671" y="7"/>
                            </a:lnTo>
                            <a:lnTo>
                              <a:pt x="662" y="3"/>
                            </a:lnTo>
                            <a:lnTo>
                              <a:pt x="657" y="0"/>
                            </a:lnTo>
                            <a:lnTo>
                              <a:pt x="648" y="4"/>
                            </a:lnTo>
                            <a:lnTo>
                              <a:pt x="644" y="8"/>
                            </a:lnTo>
                            <a:lnTo>
                              <a:pt x="645" y="16"/>
                            </a:lnTo>
                            <a:lnTo>
                              <a:pt x="640" y="21"/>
                            </a:lnTo>
                            <a:lnTo>
                              <a:pt x="630" y="28"/>
                            </a:lnTo>
                            <a:lnTo>
                              <a:pt x="623" y="28"/>
                            </a:lnTo>
                            <a:lnTo>
                              <a:pt x="617" y="28"/>
                            </a:lnTo>
                            <a:lnTo>
                              <a:pt x="607" y="26"/>
                            </a:lnTo>
                            <a:lnTo>
                              <a:pt x="598" y="31"/>
                            </a:lnTo>
                            <a:lnTo>
                              <a:pt x="593" y="38"/>
                            </a:lnTo>
                            <a:lnTo>
                              <a:pt x="591" y="54"/>
                            </a:lnTo>
                            <a:lnTo>
                              <a:pt x="588" y="67"/>
                            </a:lnTo>
                            <a:lnTo>
                              <a:pt x="588" y="78"/>
                            </a:lnTo>
                            <a:lnTo>
                              <a:pt x="580" y="85"/>
                            </a:lnTo>
                            <a:lnTo>
                              <a:pt x="553" y="83"/>
                            </a:lnTo>
                            <a:lnTo>
                              <a:pt x="537" y="79"/>
                            </a:lnTo>
                            <a:lnTo>
                              <a:pt x="530" y="78"/>
                            </a:lnTo>
                            <a:lnTo>
                              <a:pt x="520" y="76"/>
                            </a:lnTo>
                            <a:lnTo>
                              <a:pt x="509" y="71"/>
                            </a:lnTo>
                            <a:lnTo>
                              <a:pt x="505" y="65"/>
                            </a:lnTo>
                            <a:lnTo>
                              <a:pt x="498" y="57"/>
                            </a:lnTo>
                            <a:lnTo>
                              <a:pt x="485" y="65"/>
                            </a:lnTo>
                            <a:lnTo>
                              <a:pt x="475" y="74"/>
                            </a:lnTo>
                            <a:lnTo>
                              <a:pt x="469" y="86"/>
                            </a:lnTo>
                            <a:lnTo>
                              <a:pt x="459" y="100"/>
                            </a:lnTo>
                            <a:lnTo>
                              <a:pt x="449" y="108"/>
                            </a:lnTo>
                            <a:lnTo>
                              <a:pt x="446" y="116"/>
                            </a:lnTo>
                            <a:lnTo>
                              <a:pt x="442" y="123"/>
                            </a:lnTo>
                            <a:lnTo>
                              <a:pt x="447" y="137"/>
                            </a:lnTo>
                            <a:lnTo>
                              <a:pt x="447" y="143"/>
                            </a:lnTo>
                            <a:lnTo>
                              <a:pt x="441" y="141"/>
                            </a:lnTo>
                            <a:lnTo>
                              <a:pt x="426" y="138"/>
                            </a:lnTo>
                            <a:lnTo>
                              <a:pt x="423" y="133"/>
                            </a:lnTo>
                            <a:lnTo>
                              <a:pt x="412" y="130"/>
                            </a:lnTo>
                            <a:lnTo>
                              <a:pt x="399" y="130"/>
                            </a:lnTo>
                            <a:lnTo>
                              <a:pt x="392" y="131"/>
                            </a:lnTo>
                            <a:lnTo>
                              <a:pt x="381" y="131"/>
                            </a:lnTo>
                            <a:lnTo>
                              <a:pt x="372" y="130"/>
                            </a:lnTo>
                            <a:lnTo>
                              <a:pt x="361" y="130"/>
                            </a:lnTo>
                            <a:lnTo>
                              <a:pt x="350" y="130"/>
                            </a:lnTo>
                            <a:lnTo>
                              <a:pt x="345" y="133"/>
                            </a:lnTo>
                            <a:lnTo>
                              <a:pt x="352" y="137"/>
                            </a:lnTo>
                            <a:lnTo>
                              <a:pt x="359" y="146"/>
                            </a:lnTo>
                            <a:lnTo>
                              <a:pt x="355" y="155"/>
                            </a:lnTo>
                            <a:lnTo>
                              <a:pt x="351" y="166"/>
                            </a:lnTo>
                            <a:lnTo>
                              <a:pt x="351" y="178"/>
                            </a:lnTo>
                            <a:lnTo>
                              <a:pt x="351" y="188"/>
                            </a:lnTo>
                            <a:lnTo>
                              <a:pt x="351" y="200"/>
                            </a:lnTo>
                            <a:lnTo>
                              <a:pt x="356" y="203"/>
                            </a:lnTo>
                            <a:lnTo>
                              <a:pt x="351" y="207"/>
                            </a:lnTo>
                            <a:lnTo>
                              <a:pt x="350" y="216"/>
                            </a:lnTo>
                            <a:lnTo>
                              <a:pt x="335" y="218"/>
                            </a:lnTo>
                            <a:lnTo>
                              <a:pt x="327" y="218"/>
                            </a:lnTo>
                            <a:lnTo>
                              <a:pt x="334" y="227"/>
                            </a:lnTo>
                            <a:lnTo>
                              <a:pt x="319" y="231"/>
                            </a:lnTo>
                            <a:lnTo>
                              <a:pt x="317" y="238"/>
                            </a:lnTo>
                            <a:lnTo>
                              <a:pt x="317" y="246"/>
                            </a:lnTo>
                            <a:lnTo>
                              <a:pt x="314" y="254"/>
                            </a:lnTo>
                            <a:lnTo>
                              <a:pt x="304" y="259"/>
                            </a:lnTo>
                            <a:lnTo>
                              <a:pt x="297" y="261"/>
                            </a:lnTo>
                            <a:lnTo>
                              <a:pt x="285" y="268"/>
                            </a:lnTo>
                            <a:lnTo>
                              <a:pt x="272" y="266"/>
                            </a:lnTo>
                            <a:lnTo>
                              <a:pt x="255" y="271"/>
                            </a:lnTo>
                            <a:lnTo>
                              <a:pt x="238" y="271"/>
                            </a:lnTo>
                            <a:lnTo>
                              <a:pt x="228" y="271"/>
                            </a:lnTo>
                            <a:lnTo>
                              <a:pt x="218" y="269"/>
                            </a:lnTo>
                            <a:lnTo>
                              <a:pt x="208" y="266"/>
                            </a:lnTo>
                            <a:lnTo>
                              <a:pt x="203" y="270"/>
                            </a:lnTo>
                            <a:lnTo>
                              <a:pt x="196" y="270"/>
                            </a:lnTo>
                            <a:lnTo>
                              <a:pt x="186" y="270"/>
                            </a:lnTo>
                            <a:lnTo>
                              <a:pt x="188" y="280"/>
                            </a:lnTo>
                            <a:lnTo>
                              <a:pt x="178" y="280"/>
                            </a:lnTo>
                            <a:lnTo>
                              <a:pt x="175" y="275"/>
                            </a:lnTo>
                            <a:lnTo>
                              <a:pt x="163" y="275"/>
                            </a:lnTo>
                            <a:lnTo>
                              <a:pt x="154" y="284"/>
                            </a:lnTo>
                            <a:lnTo>
                              <a:pt x="148" y="294"/>
                            </a:lnTo>
                            <a:lnTo>
                              <a:pt x="141" y="298"/>
                            </a:lnTo>
                            <a:lnTo>
                              <a:pt x="135" y="299"/>
                            </a:lnTo>
                            <a:lnTo>
                              <a:pt x="130" y="294"/>
                            </a:lnTo>
                            <a:lnTo>
                              <a:pt x="121" y="294"/>
                            </a:lnTo>
                            <a:lnTo>
                              <a:pt x="110" y="294"/>
                            </a:lnTo>
                            <a:lnTo>
                              <a:pt x="104" y="294"/>
                            </a:lnTo>
                            <a:lnTo>
                              <a:pt x="104" y="288"/>
                            </a:lnTo>
                            <a:lnTo>
                              <a:pt x="111" y="288"/>
                            </a:lnTo>
                            <a:lnTo>
                              <a:pt x="111" y="282"/>
                            </a:lnTo>
                            <a:lnTo>
                              <a:pt x="111" y="276"/>
                            </a:lnTo>
                            <a:lnTo>
                              <a:pt x="101" y="279"/>
                            </a:lnTo>
                            <a:lnTo>
                              <a:pt x="93" y="279"/>
                            </a:lnTo>
                            <a:lnTo>
                              <a:pt x="86" y="279"/>
                            </a:lnTo>
                            <a:lnTo>
                              <a:pt x="77" y="274"/>
                            </a:lnTo>
                            <a:lnTo>
                              <a:pt x="82" y="283"/>
                            </a:lnTo>
                            <a:lnTo>
                              <a:pt x="74" y="283"/>
                            </a:lnTo>
                            <a:lnTo>
                              <a:pt x="69" y="280"/>
                            </a:lnTo>
                            <a:lnTo>
                              <a:pt x="58" y="283"/>
                            </a:lnTo>
                            <a:lnTo>
                              <a:pt x="49" y="283"/>
                            </a:lnTo>
                            <a:lnTo>
                              <a:pt x="39" y="283"/>
                            </a:lnTo>
                            <a:lnTo>
                              <a:pt x="37" y="290"/>
                            </a:lnTo>
                            <a:lnTo>
                              <a:pt x="26" y="294"/>
                            </a:lnTo>
                            <a:lnTo>
                              <a:pt x="24" y="306"/>
                            </a:lnTo>
                            <a:lnTo>
                              <a:pt x="18" y="308"/>
                            </a:lnTo>
                            <a:lnTo>
                              <a:pt x="9" y="308"/>
                            </a:lnTo>
                            <a:lnTo>
                              <a:pt x="1" y="311"/>
                            </a:lnTo>
                            <a:lnTo>
                              <a:pt x="9" y="316"/>
                            </a:lnTo>
                            <a:lnTo>
                              <a:pt x="7" y="327"/>
                            </a:lnTo>
                            <a:lnTo>
                              <a:pt x="11" y="331"/>
                            </a:lnTo>
                            <a:lnTo>
                              <a:pt x="0" y="331"/>
                            </a:lnTo>
                            <a:lnTo>
                              <a:pt x="0" y="341"/>
                            </a:lnTo>
                            <a:lnTo>
                              <a:pt x="4" y="349"/>
                            </a:lnTo>
                            <a:lnTo>
                              <a:pt x="9" y="352"/>
                            </a:lnTo>
                            <a:lnTo>
                              <a:pt x="16" y="347"/>
                            </a:lnTo>
                            <a:lnTo>
                              <a:pt x="24" y="354"/>
                            </a:lnTo>
                            <a:lnTo>
                              <a:pt x="36" y="354"/>
                            </a:lnTo>
                            <a:lnTo>
                              <a:pt x="42" y="363"/>
                            </a:lnTo>
                            <a:lnTo>
                              <a:pt x="37" y="371"/>
                            </a:lnTo>
                            <a:lnTo>
                              <a:pt x="36" y="382"/>
                            </a:lnTo>
                            <a:lnTo>
                              <a:pt x="36" y="393"/>
                            </a:lnTo>
                            <a:lnTo>
                              <a:pt x="34" y="401"/>
                            </a:lnTo>
                            <a:lnTo>
                              <a:pt x="26" y="403"/>
                            </a:lnTo>
                            <a:lnTo>
                              <a:pt x="33" y="416"/>
                            </a:lnTo>
                            <a:lnTo>
                              <a:pt x="24" y="421"/>
                            </a:lnTo>
                            <a:lnTo>
                              <a:pt x="12" y="418"/>
                            </a:lnTo>
                            <a:lnTo>
                              <a:pt x="2" y="421"/>
                            </a:lnTo>
                            <a:lnTo>
                              <a:pt x="6" y="427"/>
                            </a:lnTo>
                            <a:lnTo>
                              <a:pt x="14" y="432"/>
                            </a:lnTo>
                            <a:lnTo>
                              <a:pt x="26" y="435"/>
                            </a:lnTo>
                            <a:lnTo>
                              <a:pt x="34" y="437"/>
                            </a:lnTo>
                            <a:lnTo>
                              <a:pt x="33" y="450"/>
                            </a:lnTo>
                            <a:lnTo>
                              <a:pt x="42" y="453"/>
                            </a:lnTo>
                            <a:lnTo>
                              <a:pt x="49" y="459"/>
                            </a:lnTo>
                            <a:lnTo>
                              <a:pt x="49" y="472"/>
                            </a:lnTo>
                            <a:lnTo>
                              <a:pt x="43" y="480"/>
                            </a:lnTo>
                            <a:lnTo>
                              <a:pt x="41" y="489"/>
                            </a:lnTo>
                            <a:lnTo>
                              <a:pt x="48" y="497"/>
                            </a:lnTo>
                            <a:lnTo>
                              <a:pt x="58" y="503"/>
                            </a:lnTo>
                            <a:lnTo>
                              <a:pt x="64" y="501"/>
                            </a:lnTo>
                            <a:lnTo>
                              <a:pt x="67" y="517"/>
                            </a:lnTo>
                            <a:lnTo>
                              <a:pt x="84" y="525"/>
                            </a:lnTo>
                            <a:lnTo>
                              <a:pt x="98" y="534"/>
                            </a:lnTo>
                            <a:lnTo>
                              <a:pt x="110" y="534"/>
                            </a:lnTo>
                            <a:lnTo>
                              <a:pt x="120" y="537"/>
                            </a:lnTo>
                            <a:lnTo>
                              <a:pt x="113" y="544"/>
                            </a:lnTo>
                            <a:lnTo>
                              <a:pt x="115" y="555"/>
                            </a:lnTo>
                            <a:lnTo>
                              <a:pt x="110" y="569"/>
                            </a:lnTo>
                            <a:lnTo>
                              <a:pt x="110" y="579"/>
                            </a:lnTo>
                            <a:lnTo>
                              <a:pt x="120" y="586"/>
                            </a:lnTo>
                            <a:lnTo>
                              <a:pt x="131" y="594"/>
                            </a:lnTo>
                            <a:lnTo>
                              <a:pt x="136" y="601"/>
                            </a:ln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28" name="Freeform 20"/>
                      <p:cNvSpPr>
                        <a:spLocks noChangeArrowheads="1"/>
                      </p:cNvSpPr>
                      <p:nvPr/>
                    </p:nvSpPr>
                    <p:spPr bwMode="auto">
                      <a:xfrm>
                        <a:off x="3410692" y="0"/>
                        <a:ext cx="966098" cy="909255"/>
                      </a:xfrm>
                      <a:custGeom>
                        <a:avLst/>
                        <a:gdLst>
                          <a:gd name="T0" fmla="*/ 2147483647 w 522"/>
                          <a:gd name="T1" fmla="*/ 2147483647 h 427"/>
                          <a:gd name="T2" fmla="*/ 2147483647 w 522"/>
                          <a:gd name="T3" fmla="*/ 2147483647 h 427"/>
                          <a:gd name="T4" fmla="*/ 2147483647 w 522"/>
                          <a:gd name="T5" fmla="*/ 2147483647 h 427"/>
                          <a:gd name="T6" fmla="*/ 2147483647 w 522"/>
                          <a:gd name="T7" fmla="*/ 2147483647 h 427"/>
                          <a:gd name="T8" fmla="*/ 2147483647 w 522"/>
                          <a:gd name="T9" fmla="*/ 2147483647 h 427"/>
                          <a:gd name="T10" fmla="*/ 2147483647 w 522"/>
                          <a:gd name="T11" fmla="*/ 2147483647 h 427"/>
                          <a:gd name="T12" fmla="*/ 2147483647 w 522"/>
                          <a:gd name="T13" fmla="*/ 2147483647 h 427"/>
                          <a:gd name="T14" fmla="*/ 2147483647 w 522"/>
                          <a:gd name="T15" fmla="*/ 2147483647 h 427"/>
                          <a:gd name="T16" fmla="*/ 2147483647 w 522"/>
                          <a:gd name="T17" fmla="*/ 2147483647 h 427"/>
                          <a:gd name="T18" fmla="*/ 2147483647 w 522"/>
                          <a:gd name="T19" fmla="*/ 2147483647 h 427"/>
                          <a:gd name="T20" fmla="*/ 2147483647 w 522"/>
                          <a:gd name="T21" fmla="*/ 2147483647 h 427"/>
                          <a:gd name="T22" fmla="*/ 2147483647 w 522"/>
                          <a:gd name="T23" fmla="*/ 2147483647 h 427"/>
                          <a:gd name="T24" fmla="*/ 2147483647 w 522"/>
                          <a:gd name="T25" fmla="*/ 2147483647 h 427"/>
                          <a:gd name="T26" fmla="*/ 2147483647 w 522"/>
                          <a:gd name="T27" fmla="*/ 2147483647 h 427"/>
                          <a:gd name="T28" fmla="*/ 2147483647 w 522"/>
                          <a:gd name="T29" fmla="*/ 2147483647 h 427"/>
                          <a:gd name="T30" fmla="*/ 2147483647 w 522"/>
                          <a:gd name="T31" fmla="*/ 2147483647 h 427"/>
                          <a:gd name="T32" fmla="*/ 2147483647 w 522"/>
                          <a:gd name="T33" fmla="*/ 2147483647 h 427"/>
                          <a:gd name="T34" fmla="*/ 2147483647 w 522"/>
                          <a:gd name="T35" fmla="*/ 2147483647 h 427"/>
                          <a:gd name="T36" fmla="*/ 2147483647 w 522"/>
                          <a:gd name="T37" fmla="*/ 2147483647 h 427"/>
                          <a:gd name="T38" fmla="*/ 2147483647 w 522"/>
                          <a:gd name="T39" fmla="*/ 2147483647 h 427"/>
                          <a:gd name="T40" fmla="*/ 2147483647 w 522"/>
                          <a:gd name="T41" fmla="*/ 2147483647 h 427"/>
                          <a:gd name="T42" fmla="*/ 2147483647 w 522"/>
                          <a:gd name="T43" fmla="*/ 2147483647 h 427"/>
                          <a:gd name="T44" fmla="*/ 2147483647 w 522"/>
                          <a:gd name="T45" fmla="*/ 2147483647 h 427"/>
                          <a:gd name="T46" fmla="*/ 2147483647 w 522"/>
                          <a:gd name="T47" fmla="*/ 2147483647 h 427"/>
                          <a:gd name="T48" fmla="*/ 2147483647 w 522"/>
                          <a:gd name="T49" fmla="*/ 2147483647 h 427"/>
                          <a:gd name="T50" fmla="*/ 2147483647 w 522"/>
                          <a:gd name="T51" fmla="*/ 2147483647 h 427"/>
                          <a:gd name="T52" fmla="*/ 2147483647 w 522"/>
                          <a:gd name="T53" fmla="*/ 2147483647 h 427"/>
                          <a:gd name="T54" fmla="*/ 2147483647 w 522"/>
                          <a:gd name="T55" fmla="*/ 2147483647 h 427"/>
                          <a:gd name="T56" fmla="*/ 2147483647 w 522"/>
                          <a:gd name="T57" fmla="*/ 2147483647 h 427"/>
                          <a:gd name="T58" fmla="*/ 2147483647 w 522"/>
                          <a:gd name="T59" fmla="*/ 2147483647 h 427"/>
                          <a:gd name="T60" fmla="*/ 2147483647 w 522"/>
                          <a:gd name="T61" fmla="*/ 2147483647 h 427"/>
                          <a:gd name="T62" fmla="*/ 2147483647 w 522"/>
                          <a:gd name="T63" fmla="*/ 2147483647 h 427"/>
                          <a:gd name="T64" fmla="*/ 2147483647 w 522"/>
                          <a:gd name="T65" fmla="*/ 2147483647 h 427"/>
                          <a:gd name="T66" fmla="*/ 2147483647 w 522"/>
                          <a:gd name="T67" fmla="*/ 2147483647 h 427"/>
                          <a:gd name="T68" fmla="*/ 2147483647 w 522"/>
                          <a:gd name="T69" fmla="*/ 2147483647 h 427"/>
                          <a:gd name="T70" fmla="*/ 2147483647 w 522"/>
                          <a:gd name="T71" fmla="*/ 2147483647 h 427"/>
                          <a:gd name="T72" fmla="*/ 2147483647 w 522"/>
                          <a:gd name="T73" fmla="*/ 2147483647 h 427"/>
                          <a:gd name="T74" fmla="*/ 2147483647 w 522"/>
                          <a:gd name="T75" fmla="*/ 2147483647 h 427"/>
                          <a:gd name="T76" fmla="*/ 2147483647 w 522"/>
                          <a:gd name="T77" fmla="*/ 2147483647 h 427"/>
                          <a:gd name="T78" fmla="*/ 2147483647 w 522"/>
                          <a:gd name="T79" fmla="*/ 2147483647 h 427"/>
                          <a:gd name="T80" fmla="*/ 2147483647 w 522"/>
                          <a:gd name="T81" fmla="*/ 2147483647 h 427"/>
                          <a:gd name="T82" fmla="*/ 2147483647 w 522"/>
                          <a:gd name="T83" fmla="*/ 2147483647 h 427"/>
                          <a:gd name="T84" fmla="*/ 2147483647 w 522"/>
                          <a:gd name="T85" fmla="*/ 2147483647 h 427"/>
                          <a:gd name="T86" fmla="*/ 2147483647 w 522"/>
                          <a:gd name="T87" fmla="*/ 2147483647 h 427"/>
                          <a:gd name="T88" fmla="*/ 2147483647 w 522"/>
                          <a:gd name="T89" fmla="*/ 2147483647 h 427"/>
                          <a:gd name="T90" fmla="*/ 2147483647 w 522"/>
                          <a:gd name="T91" fmla="*/ 2147483647 h 427"/>
                          <a:gd name="T92" fmla="*/ 2147483647 w 522"/>
                          <a:gd name="T93" fmla="*/ 2147483647 h 427"/>
                          <a:gd name="T94" fmla="*/ 2147483647 w 522"/>
                          <a:gd name="T95" fmla="*/ 2147483647 h 427"/>
                          <a:gd name="T96" fmla="*/ 2147483647 w 522"/>
                          <a:gd name="T97" fmla="*/ 2147483647 h 427"/>
                          <a:gd name="T98" fmla="*/ 2147483647 w 522"/>
                          <a:gd name="T99" fmla="*/ 2147483647 h 427"/>
                          <a:gd name="T100" fmla="*/ 2147483647 w 522"/>
                          <a:gd name="T101" fmla="*/ 2147483647 h 427"/>
                          <a:gd name="T102" fmla="*/ 2147483647 w 522"/>
                          <a:gd name="T103" fmla="*/ 2147483647 h 427"/>
                          <a:gd name="T104" fmla="*/ 2147483647 w 522"/>
                          <a:gd name="T105" fmla="*/ 2147483647 h 427"/>
                          <a:gd name="T106" fmla="*/ 2147483647 w 522"/>
                          <a:gd name="T107" fmla="*/ 2147483647 h 427"/>
                          <a:gd name="T108" fmla="*/ 2147483647 w 522"/>
                          <a:gd name="T109" fmla="*/ 2147483647 h 427"/>
                          <a:gd name="T110" fmla="*/ 2147483647 w 522"/>
                          <a:gd name="T111" fmla="*/ 2147483647 h 427"/>
                          <a:gd name="T112" fmla="*/ 2147483647 w 522"/>
                          <a:gd name="T113" fmla="*/ 2147483647 h 427"/>
                          <a:gd name="T114" fmla="*/ 2147483647 w 522"/>
                          <a:gd name="T115" fmla="*/ 2147483647 h 427"/>
                          <a:gd name="T116" fmla="*/ 2147483647 w 522"/>
                          <a:gd name="T117" fmla="*/ 2147483647 h 427"/>
                          <a:gd name="T118" fmla="*/ 2147483647 w 522"/>
                          <a:gd name="T119" fmla="*/ 2147483647 h 427"/>
                          <a:gd name="T120" fmla="*/ 2147483647 w 522"/>
                          <a:gd name="T121" fmla="*/ 2147483647 h 427"/>
                          <a:gd name="T122" fmla="*/ 2147483647 w 522"/>
                          <a:gd name="T123" fmla="*/ 2147483647 h 42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2"/>
                          <a:gd name="T187" fmla="*/ 0 h 427"/>
                          <a:gd name="T188" fmla="*/ 522 w 522"/>
                          <a:gd name="T189" fmla="*/ 427 h 42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2" h="427">
                            <a:moveTo>
                              <a:pt x="10" y="19"/>
                            </a:moveTo>
                            <a:lnTo>
                              <a:pt x="20" y="28"/>
                            </a:lnTo>
                            <a:lnTo>
                              <a:pt x="15" y="31"/>
                            </a:lnTo>
                            <a:lnTo>
                              <a:pt x="15" y="39"/>
                            </a:lnTo>
                            <a:lnTo>
                              <a:pt x="10" y="47"/>
                            </a:lnTo>
                            <a:lnTo>
                              <a:pt x="0" y="54"/>
                            </a:lnTo>
                            <a:lnTo>
                              <a:pt x="20" y="57"/>
                            </a:lnTo>
                            <a:lnTo>
                              <a:pt x="28" y="66"/>
                            </a:lnTo>
                            <a:lnTo>
                              <a:pt x="33" y="58"/>
                            </a:lnTo>
                            <a:lnTo>
                              <a:pt x="37" y="52"/>
                            </a:lnTo>
                            <a:lnTo>
                              <a:pt x="44" y="57"/>
                            </a:lnTo>
                            <a:lnTo>
                              <a:pt x="48" y="62"/>
                            </a:lnTo>
                            <a:lnTo>
                              <a:pt x="54" y="60"/>
                            </a:lnTo>
                            <a:lnTo>
                              <a:pt x="59" y="64"/>
                            </a:lnTo>
                            <a:lnTo>
                              <a:pt x="55" y="70"/>
                            </a:lnTo>
                            <a:lnTo>
                              <a:pt x="59" y="80"/>
                            </a:lnTo>
                            <a:lnTo>
                              <a:pt x="65" y="87"/>
                            </a:lnTo>
                            <a:lnTo>
                              <a:pt x="70" y="102"/>
                            </a:lnTo>
                            <a:lnTo>
                              <a:pt x="87" y="106"/>
                            </a:lnTo>
                            <a:lnTo>
                              <a:pt x="93" y="100"/>
                            </a:lnTo>
                            <a:lnTo>
                              <a:pt x="101" y="98"/>
                            </a:lnTo>
                            <a:lnTo>
                              <a:pt x="120" y="96"/>
                            </a:lnTo>
                            <a:lnTo>
                              <a:pt x="129" y="92"/>
                            </a:lnTo>
                            <a:lnTo>
                              <a:pt x="135" y="91"/>
                            </a:lnTo>
                            <a:lnTo>
                              <a:pt x="140" y="83"/>
                            </a:lnTo>
                            <a:lnTo>
                              <a:pt x="141" y="76"/>
                            </a:lnTo>
                            <a:lnTo>
                              <a:pt x="150" y="78"/>
                            </a:lnTo>
                            <a:lnTo>
                              <a:pt x="155" y="81"/>
                            </a:lnTo>
                            <a:lnTo>
                              <a:pt x="163" y="94"/>
                            </a:lnTo>
                            <a:lnTo>
                              <a:pt x="171" y="99"/>
                            </a:lnTo>
                            <a:lnTo>
                              <a:pt x="181" y="104"/>
                            </a:lnTo>
                            <a:lnTo>
                              <a:pt x="172" y="111"/>
                            </a:lnTo>
                            <a:lnTo>
                              <a:pt x="168" y="116"/>
                            </a:lnTo>
                            <a:lnTo>
                              <a:pt x="174" y="126"/>
                            </a:lnTo>
                            <a:lnTo>
                              <a:pt x="168" y="129"/>
                            </a:lnTo>
                            <a:lnTo>
                              <a:pt x="162" y="131"/>
                            </a:lnTo>
                            <a:lnTo>
                              <a:pt x="162" y="138"/>
                            </a:lnTo>
                            <a:lnTo>
                              <a:pt x="159" y="147"/>
                            </a:lnTo>
                            <a:lnTo>
                              <a:pt x="157" y="153"/>
                            </a:lnTo>
                            <a:lnTo>
                              <a:pt x="159" y="170"/>
                            </a:lnTo>
                            <a:lnTo>
                              <a:pt x="165" y="177"/>
                            </a:lnTo>
                            <a:lnTo>
                              <a:pt x="165" y="185"/>
                            </a:lnTo>
                            <a:lnTo>
                              <a:pt x="165" y="192"/>
                            </a:lnTo>
                            <a:lnTo>
                              <a:pt x="159" y="193"/>
                            </a:lnTo>
                            <a:lnTo>
                              <a:pt x="150" y="192"/>
                            </a:lnTo>
                            <a:lnTo>
                              <a:pt x="149" y="200"/>
                            </a:lnTo>
                            <a:lnTo>
                              <a:pt x="144" y="214"/>
                            </a:lnTo>
                            <a:lnTo>
                              <a:pt x="147" y="223"/>
                            </a:lnTo>
                            <a:lnTo>
                              <a:pt x="149" y="237"/>
                            </a:lnTo>
                            <a:lnTo>
                              <a:pt x="143" y="240"/>
                            </a:lnTo>
                            <a:lnTo>
                              <a:pt x="140" y="230"/>
                            </a:lnTo>
                            <a:lnTo>
                              <a:pt x="137" y="223"/>
                            </a:lnTo>
                            <a:lnTo>
                              <a:pt x="129" y="228"/>
                            </a:lnTo>
                            <a:lnTo>
                              <a:pt x="123" y="233"/>
                            </a:lnTo>
                            <a:lnTo>
                              <a:pt x="118" y="245"/>
                            </a:lnTo>
                            <a:lnTo>
                              <a:pt x="114" y="251"/>
                            </a:lnTo>
                            <a:lnTo>
                              <a:pt x="107" y="253"/>
                            </a:lnTo>
                            <a:lnTo>
                              <a:pt x="101" y="262"/>
                            </a:lnTo>
                            <a:lnTo>
                              <a:pt x="92" y="268"/>
                            </a:lnTo>
                            <a:lnTo>
                              <a:pt x="82" y="275"/>
                            </a:lnTo>
                            <a:lnTo>
                              <a:pt x="79" y="281"/>
                            </a:lnTo>
                            <a:lnTo>
                              <a:pt x="77" y="287"/>
                            </a:lnTo>
                            <a:lnTo>
                              <a:pt x="82" y="294"/>
                            </a:lnTo>
                            <a:lnTo>
                              <a:pt x="91" y="296"/>
                            </a:lnTo>
                            <a:lnTo>
                              <a:pt x="97" y="300"/>
                            </a:lnTo>
                            <a:lnTo>
                              <a:pt x="103" y="315"/>
                            </a:lnTo>
                            <a:lnTo>
                              <a:pt x="107" y="309"/>
                            </a:lnTo>
                            <a:lnTo>
                              <a:pt x="114" y="305"/>
                            </a:lnTo>
                            <a:lnTo>
                              <a:pt x="115" y="299"/>
                            </a:lnTo>
                            <a:lnTo>
                              <a:pt x="122" y="299"/>
                            </a:lnTo>
                            <a:lnTo>
                              <a:pt x="129" y="305"/>
                            </a:lnTo>
                            <a:lnTo>
                              <a:pt x="124" y="312"/>
                            </a:lnTo>
                            <a:lnTo>
                              <a:pt x="117" y="317"/>
                            </a:lnTo>
                            <a:lnTo>
                              <a:pt x="111" y="319"/>
                            </a:lnTo>
                            <a:lnTo>
                              <a:pt x="102" y="320"/>
                            </a:lnTo>
                            <a:lnTo>
                              <a:pt x="106" y="327"/>
                            </a:lnTo>
                            <a:lnTo>
                              <a:pt x="113" y="331"/>
                            </a:lnTo>
                            <a:lnTo>
                              <a:pt x="123" y="332"/>
                            </a:lnTo>
                            <a:lnTo>
                              <a:pt x="133" y="330"/>
                            </a:lnTo>
                            <a:lnTo>
                              <a:pt x="139" y="328"/>
                            </a:lnTo>
                            <a:lnTo>
                              <a:pt x="146" y="331"/>
                            </a:lnTo>
                            <a:lnTo>
                              <a:pt x="145" y="337"/>
                            </a:lnTo>
                            <a:lnTo>
                              <a:pt x="149" y="347"/>
                            </a:lnTo>
                            <a:lnTo>
                              <a:pt x="157" y="359"/>
                            </a:lnTo>
                            <a:lnTo>
                              <a:pt x="163" y="359"/>
                            </a:lnTo>
                            <a:lnTo>
                              <a:pt x="167" y="364"/>
                            </a:lnTo>
                            <a:lnTo>
                              <a:pt x="175" y="364"/>
                            </a:lnTo>
                            <a:lnTo>
                              <a:pt x="181" y="362"/>
                            </a:lnTo>
                            <a:lnTo>
                              <a:pt x="189" y="361"/>
                            </a:lnTo>
                            <a:lnTo>
                              <a:pt x="196" y="364"/>
                            </a:lnTo>
                            <a:lnTo>
                              <a:pt x="204" y="361"/>
                            </a:lnTo>
                            <a:lnTo>
                              <a:pt x="212" y="355"/>
                            </a:lnTo>
                            <a:lnTo>
                              <a:pt x="214" y="361"/>
                            </a:lnTo>
                            <a:lnTo>
                              <a:pt x="221" y="368"/>
                            </a:lnTo>
                            <a:lnTo>
                              <a:pt x="234" y="372"/>
                            </a:lnTo>
                            <a:lnTo>
                              <a:pt x="243" y="366"/>
                            </a:lnTo>
                            <a:lnTo>
                              <a:pt x="254" y="364"/>
                            </a:lnTo>
                            <a:lnTo>
                              <a:pt x="263" y="366"/>
                            </a:lnTo>
                            <a:lnTo>
                              <a:pt x="271" y="375"/>
                            </a:lnTo>
                            <a:lnTo>
                              <a:pt x="271" y="384"/>
                            </a:lnTo>
                            <a:lnTo>
                              <a:pt x="278" y="390"/>
                            </a:lnTo>
                            <a:lnTo>
                              <a:pt x="285" y="388"/>
                            </a:lnTo>
                            <a:lnTo>
                              <a:pt x="291" y="390"/>
                            </a:lnTo>
                            <a:lnTo>
                              <a:pt x="297" y="402"/>
                            </a:lnTo>
                            <a:lnTo>
                              <a:pt x="304" y="408"/>
                            </a:lnTo>
                            <a:lnTo>
                              <a:pt x="310" y="409"/>
                            </a:lnTo>
                            <a:lnTo>
                              <a:pt x="317" y="408"/>
                            </a:lnTo>
                            <a:lnTo>
                              <a:pt x="314" y="395"/>
                            </a:lnTo>
                            <a:lnTo>
                              <a:pt x="319" y="390"/>
                            </a:lnTo>
                            <a:lnTo>
                              <a:pt x="326" y="387"/>
                            </a:lnTo>
                            <a:lnTo>
                              <a:pt x="329" y="397"/>
                            </a:lnTo>
                            <a:lnTo>
                              <a:pt x="330" y="404"/>
                            </a:lnTo>
                            <a:lnTo>
                              <a:pt x="338" y="413"/>
                            </a:lnTo>
                            <a:lnTo>
                              <a:pt x="345" y="413"/>
                            </a:lnTo>
                            <a:lnTo>
                              <a:pt x="347" y="423"/>
                            </a:lnTo>
                            <a:lnTo>
                              <a:pt x="351" y="427"/>
                            </a:lnTo>
                            <a:lnTo>
                              <a:pt x="361" y="427"/>
                            </a:lnTo>
                            <a:lnTo>
                              <a:pt x="365" y="422"/>
                            </a:lnTo>
                            <a:lnTo>
                              <a:pt x="363" y="411"/>
                            </a:lnTo>
                            <a:lnTo>
                              <a:pt x="368" y="408"/>
                            </a:lnTo>
                            <a:lnTo>
                              <a:pt x="375" y="408"/>
                            </a:lnTo>
                            <a:lnTo>
                              <a:pt x="382" y="406"/>
                            </a:lnTo>
                            <a:lnTo>
                              <a:pt x="382" y="399"/>
                            </a:lnTo>
                            <a:lnTo>
                              <a:pt x="389" y="397"/>
                            </a:lnTo>
                            <a:lnTo>
                              <a:pt x="392" y="404"/>
                            </a:lnTo>
                            <a:lnTo>
                              <a:pt x="399" y="399"/>
                            </a:lnTo>
                            <a:lnTo>
                              <a:pt x="402" y="394"/>
                            </a:lnTo>
                            <a:lnTo>
                              <a:pt x="406" y="404"/>
                            </a:lnTo>
                            <a:lnTo>
                              <a:pt x="411" y="409"/>
                            </a:lnTo>
                            <a:lnTo>
                              <a:pt x="422" y="415"/>
                            </a:lnTo>
                            <a:lnTo>
                              <a:pt x="430" y="419"/>
                            </a:lnTo>
                            <a:lnTo>
                              <a:pt x="435" y="414"/>
                            </a:lnTo>
                            <a:lnTo>
                              <a:pt x="442" y="420"/>
                            </a:lnTo>
                            <a:lnTo>
                              <a:pt x="440" y="404"/>
                            </a:lnTo>
                            <a:lnTo>
                              <a:pt x="437" y="397"/>
                            </a:lnTo>
                            <a:lnTo>
                              <a:pt x="437" y="386"/>
                            </a:lnTo>
                            <a:lnTo>
                              <a:pt x="429" y="372"/>
                            </a:lnTo>
                            <a:lnTo>
                              <a:pt x="422" y="359"/>
                            </a:lnTo>
                            <a:lnTo>
                              <a:pt x="414" y="351"/>
                            </a:lnTo>
                            <a:lnTo>
                              <a:pt x="420" y="348"/>
                            </a:lnTo>
                            <a:lnTo>
                              <a:pt x="430" y="347"/>
                            </a:lnTo>
                            <a:lnTo>
                              <a:pt x="437" y="333"/>
                            </a:lnTo>
                            <a:lnTo>
                              <a:pt x="444" y="323"/>
                            </a:lnTo>
                            <a:lnTo>
                              <a:pt x="452" y="329"/>
                            </a:lnTo>
                            <a:lnTo>
                              <a:pt x="464" y="329"/>
                            </a:lnTo>
                            <a:lnTo>
                              <a:pt x="482" y="329"/>
                            </a:lnTo>
                            <a:lnTo>
                              <a:pt x="489" y="328"/>
                            </a:lnTo>
                            <a:lnTo>
                              <a:pt x="492" y="323"/>
                            </a:lnTo>
                            <a:lnTo>
                              <a:pt x="490" y="317"/>
                            </a:lnTo>
                            <a:lnTo>
                              <a:pt x="491" y="309"/>
                            </a:lnTo>
                            <a:lnTo>
                              <a:pt x="491" y="302"/>
                            </a:lnTo>
                            <a:lnTo>
                              <a:pt x="495" y="291"/>
                            </a:lnTo>
                            <a:lnTo>
                              <a:pt x="500" y="287"/>
                            </a:lnTo>
                            <a:lnTo>
                              <a:pt x="503" y="277"/>
                            </a:lnTo>
                            <a:lnTo>
                              <a:pt x="503" y="270"/>
                            </a:lnTo>
                            <a:lnTo>
                              <a:pt x="509" y="265"/>
                            </a:lnTo>
                            <a:lnTo>
                              <a:pt x="504" y="255"/>
                            </a:lnTo>
                            <a:lnTo>
                              <a:pt x="506" y="247"/>
                            </a:lnTo>
                            <a:lnTo>
                              <a:pt x="503" y="231"/>
                            </a:lnTo>
                            <a:lnTo>
                              <a:pt x="507" y="221"/>
                            </a:lnTo>
                            <a:lnTo>
                              <a:pt x="503" y="216"/>
                            </a:lnTo>
                            <a:lnTo>
                              <a:pt x="507" y="212"/>
                            </a:lnTo>
                            <a:lnTo>
                              <a:pt x="514" y="206"/>
                            </a:lnTo>
                            <a:lnTo>
                              <a:pt x="516" y="200"/>
                            </a:lnTo>
                            <a:lnTo>
                              <a:pt x="516" y="190"/>
                            </a:lnTo>
                            <a:lnTo>
                              <a:pt x="507" y="184"/>
                            </a:lnTo>
                            <a:lnTo>
                              <a:pt x="507" y="176"/>
                            </a:lnTo>
                            <a:lnTo>
                              <a:pt x="509" y="167"/>
                            </a:lnTo>
                            <a:lnTo>
                              <a:pt x="519" y="163"/>
                            </a:lnTo>
                            <a:lnTo>
                              <a:pt x="522" y="153"/>
                            </a:lnTo>
                            <a:lnTo>
                              <a:pt x="514" y="158"/>
                            </a:lnTo>
                            <a:lnTo>
                              <a:pt x="506" y="164"/>
                            </a:lnTo>
                            <a:lnTo>
                              <a:pt x="498" y="164"/>
                            </a:lnTo>
                            <a:lnTo>
                              <a:pt x="489" y="166"/>
                            </a:lnTo>
                            <a:lnTo>
                              <a:pt x="484" y="175"/>
                            </a:lnTo>
                            <a:lnTo>
                              <a:pt x="474" y="179"/>
                            </a:lnTo>
                            <a:lnTo>
                              <a:pt x="470" y="185"/>
                            </a:lnTo>
                            <a:lnTo>
                              <a:pt x="459" y="190"/>
                            </a:lnTo>
                            <a:lnTo>
                              <a:pt x="448" y="196"/>
                            </a:lnTo>
                            <a:lnTo>
                              <a:pt x="443" y="205"/>
                            </a:lnTo>
                            <a:lnTo>
                              <a:pt x="438" y="214"/>
                            </a:lnTo>
                            <a:lnTo>
                              <a:pt x="429" y="211"/>
                            </a:lnTo>
                            <a:lnTo>
                              <a:pt x="416" y="218"/>
                            </a:lnTo>
                            <a:lnTo>
                              <a:pt x="407" y="218"/>
                            </a:lnTo>
                            <a:lnTo>
                              <a:pt x="395" y="218"/>
                            </a:lnTo>
                            <a:lnTo>
                              <a:pt x="389" y="224"/>
                            </a:lnTo>
                            <a:lnTo>
                              <a:pt x="382" y="219"/>
                            </a:lnTo>
                            <a:lnTo>
                              <a:pt x="379" y="213"/>
                            </a:lnTo>
                            <a:lnTo>
                              <a:pt x="374" y="209"/>
                            </a:lnTo>
                            <a:lnTo>
                              <a:pt x="366" y="205"/>
                            </a:lnTo>
                            <a:lnTo>
                              <a:pt x="374" y="198"/>
                            </a:lnTo>
                            <a:lnTo>
                              <a:pt x="366" y="185"/>
                            </a:lnTo>
                            <a:lnTo>
                              <a:pt x="360" y="186"/>
                            </a:lnTo>
                            <a:lnTo>
                              <a:pt x="356" y="178"/>
                            </a:lnTo>
                            <a:lnTo>
                              <a:pt x="360" y="173"/>
                            </a:lnTo>
                            <a:lnTo>
                              <a:pt x="349" y="170"/>
                            </a:lnTo>
                            <a:lnTo>
                              <a:pt x="342" y="172"/>
                            </a:lnTo>
                            <a:lnTo>
                              <a:pt x="328" y="166"/>
                            </a:lnTo>
                            <a:lnTo>
                              <a:pt x="322" y="161"/>
                            </a:lnTo>
                            <a:lnTo>
                              <a:pt x="315" y="158"/>
                            </a:lnTo>
                            <a:lnTo>
                              <a:pt x="303" y="157"/>
                            </a:lnTo>
                            <a:lnTo>
                              <a:pt x="293" y="158"/>
                            </a:lnTo>
                            <a:lnTo>
                              <a:pt x="287" y="155"/>
                            </a:lnTo>
                            <a:lnTo>
                              <a:pt x="281" y="152"/>
                            </a:lnTo>
                            <a:lnTo>
                              <a:pt x="273" y="155"/>
                            </a:lnTo>
                            <a:lnTo>
                              <a:pt x="262" y="158"/>
                            </a:lnTo>
                            <a:lnTo>
                              <a:pt x="251" y="156"/>
                            </a:lnTo>
                            <a:lnTo>
                              <a:pt x="243" y="150"/>
                            </a:lnTo>
                            <a:lnTo>
                              <a:pt x="238" y="147"/>
                            </a:lnTo>
                            <a:lnTo>
                              <a:pt x="235" y="137"/>
                            </a:lnTo>
                            <a:lnTo>
                              <a:pt x="237" y="131"/>
                            </a:lnTo>
                            <a:lnTo>
                              <a:pt x="231" y="125"/>
                            </a:lnTo>
                            <a:lnTo>
                              <a:pt x="226" y="119"/>
                            </a:lnTo>
                            <a:lnTo>
                              <a:pt x="226" y="112"/>
                            </a:lnTo>
                            <a:lnTo>
                              <a:pt x="221" y="106"/>
                            </a:lnTo>
                            <a:lnTo>
                              <a:pt x="213" y="101"/>
                            </a:lnTo>
                            <a:lnTo>
                              <a:pt x="206" y="97"/>
                            </a:lnTo>
                            <a:lnTo>
                              <a:pt x="206" y="91"/>
                            </a:lnTo>
                            <a:lnTo>
                              <a:pt x="206" y="83"/>
                            </a:lnTo>
                            <a:lnTo>
                              <a:pt x="201" y="80"/>
                            </a:lnTo>
                            <a:lnTo>
                              <a:pt x="198" y="73"/>
                            </a:lnTo>
                            <a:lnTo>
                              <a:pt x="195" y="68"/>
                            </a:lnTo>
                            <a:lnTo>
                              <a:pt x="185" y="59"/>
                            </a:lnTo>
                            <a:lnTo>
                              <a:pt x="181" y="52"/>
                            </a:lnTo>
                            <a:lnTo>
                              <a:pt x="175" y="45"/>
                            </a:lnTo>
                            <a:lnTo>
                              <a:pt x="175" y="38"/>
                            </a:lnTo>
                            <a:lnTo>
                              <a:pt x="170" y="35"/>
                            </a:lnTo>
                            <a:lnTo>
                              <a:pt x="162" y="30"/>
                            </a:lnTo>
                            <a:lnTo>
                              <a:pt x="164" y="22"/>
                            </a:lnTo>
                            <a:lnTo>
                              <a:pt x="158" y="22"/>
                            </a:lnTo>
                            <a:lnTo>
                              <a:pt x="152" y="19"/>
                            </a:lnTo>
                            <a:lnTo>
                              <a:pt x="148" y="14"/>
                            </a:lnTo>
                            <a:lnTo>
                              <a:pt x="139" y="13"/>
                            </a:lnTo>
                            <a:lnTo>
                              <a:pt x="131" y="9"/>
                            </a:lnTo>
                            <a:lnTo>
                              <a:pt x="124" y="9"/>
                            </a:lnTo>
                            <a:lnTo>
                              <a:pt x="119" y="14"/>
                            </a:lnTo>
                            <a:lnTo>
                              <a:pt x="113" y="10"/>
                            </a:lnTo>
                            <a:lnTo>
                              <a:pt x="107" y="10"/>
                            </a:lnTo>
                            <a:lnTo>
                              <a:pt x="97" y="4"/>
                            </a:lnTo>
                            <a:lnTo>
                              <a:pt x="89" y="4"/>
                            </a:lnTo>
                            <a:lnTo>
                              <a:pt x="85" y="0"/>
                            </a:lnTo>
                            <a:lnTo>
                              <a:pt x="75" y="0"/>
                            </a:lnTo>
                            <a:lnTo>
                              <a:pt x="67" y="0"/>
                            </a:lnTo>
                            <a:lnTo>
                              <a:pt x="54" y="5"/>
                            </a:lnTo>
                            <a:lnTo>
                              <a:pt x="47" y="7"/>
                            </a:lnTo>
                            <a:lnTo>
                              <a:pt x="35" y="7"/>
                            </a:lnTo>
                            <a:lnTo>
                              <a:pt x="28" y="7"/>
                            </a:lnTo>
                            <a:lnTo>
                              <a:pt x="23" y="11"/>
                            </a:lnTo>
                            <a:lnTo>
                              <a:pt x="14" y="12"/>
                            </a:lnTo>
                            <a:lnTo>
                              <a:pt x="10" y="19"/>
                            </a:ln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grpSp>
                    <p:nvGrpSpPr>
                      <p:cNvPr id="129" name="Group 9"/>
                      <p:cNvGrpSpPr>
                        <a:grpSpLocks/>
                      </p:cNvGrpSpPr>
                      <p:nvPr/>
                    </p:nvGrpSpPr>
                    <p:grpSpPr bwMode="auto">
                      <a:xfrm>
                        <a:off x="127969" y="48862"/>
                        <a:ext cx="4099918" cy="3332165"/>
                        <a:chOff x="0" y="0"/>
                        <a:chExt cx="4099918" cy="3332165"/>
                      </a:xfrm>
                    </p:grpSpPr>
                    <p:sp>
                      <p:nvSpPr>
                        <p:cNvPr id="130" name="Freeform 24"/>
                        <p:cNvSpPr>
                          <a:spLocks noChangeArrowheads="1"/>
                        </p:cNvSpPr>
                        <p:nvPr/>
                      </p:nvSpPr>
                      <p:spPr bwMode="auto">
                        <a:xfrm>
                          <a:off x="1547053" y="1886491"/>
                          <a:ext cx="1076932" cy="834901"/>
                        </a:xfrm>
                        <a:custGeom>
                          <a:avLst/>
                          <a:gdLst>
                            <a:gd name="T0" fmla="*/ 2147483647 w 761"/>
                            <a:gd name="T1" fmla="*/ 2147483647 h 633"/>
                            <a:gd name="T2" fmla="*/ 2147483647 w 761"/>
                            <a:gd name="T3" fmla="*/ 2147483647 h 633"/>
                            <a:gd name="T4" fmla="*/ 2147483647 w 761"/>
                            <a:gd name="T5" fmla="*/ 2147483647 h 633"/>
                            <a:gd name="T6" fmla="*/ 2147483647 w 761"/>
                            <a:gd name="T7" fmla="*/ 2147483647 h 633"/>
                            <a:gd name="T8" fmla="*/ 2147483647 w 761"/>
                            <a:gd name="T9" fmla="*/ 2147483647 h 633"/>
                            <a:gd name="T10" fmla="*/ 2147483647 w 761"/>
                            <a:gd name="T11" fmla="*/ 2147483647 h 633"/>
                            <a:gd name="T12" fmla="*/ 2147483647 w 761"/>
                            <a:gd name="T13" fmla="*/ 2147483647 h 633"/>
                            <a:gd name="T14" fmla="*/ 2147483647 w 761"/>
                            <a:gd name="T15" fmla="*/ 2147483647 h 633"/>
                            <a:gd name="T16" fmla="*/ 2147483647 w 761"/>
                            <a:gd name="T17" fmla="*/ 2147483647 h 633"/>
                            <a:gd name="T18" fmla="*/ 2147483647 w 761"/>
                            <a:gd name="T19" fmla="*/ 2147483647 h 633"/>
                            <a:gd name="T20" fmla="*/ 2147483647 w 761"/>
                            <a:gd name="T21" fmla="*/ 2147483647 h 633"/>
                            <a:gd name="T22" fmla="*/ 2147483647 w 761"/>
                            <a:gd name="T23" fmla="*/ 2147483647 h 633"/>
                            <a:gd name="T24" fmla="*/ 2147483647 w 761"/>
                            <a:gd name="T25" fmla="*/ 2147483647 h 633"/>
                            <a:gd name="T26" fmla="*/ 2147483647 w 761"/>
                            <a:gd name="T27" fmla="*/ 2147483647 h 633"/>
                            <a:gd name="T28" fmla="*/ 2147483647 w 761"/>
                            <a:gd name="T29" fmla="*/ 2147483647 h 633"/>
                            <a:gd name="T30" fmla="*/ 2147483647 w 761"/>
                            <a:gd name="T31" fmla="*/ 2147483647 h 633"/>
                            <a:gd name="T32" fmla="*/ 2147483647 w 761"/>
                            <a:gd name="T33" fmla="*/ 2147483647 h 633"/>
                            <a:gd name="T34" fmla="*/ 2147483647 w 761"/>
                            <a:gd name="T35" fmla="*/ 2147483647 h 633"/>
                            <a:gd name="T36" fmla="*/ 2147483647 w 761"/>
                            <a:gd name="T37" fmla="*/ 2147483647 h 633"/>
                            <a:gd name="T38" fmla="*/ 2147483647 w 761"/>
                            <a:gd name="T39" fmla="*/ 2147483647 h 633"/>
                            <a:gd name="T40" fmla="*/ 2147483647 w 761"/>
                            <a:gd name="T41" fmla="*/ 2147483647 h 633"/>
                            <a:gd name="T42" fmla="*/ 2147483647 w 761"/>
                            <a:gd name="T43" fmla="*/ 2147483647 h 633"/>
                            <a:gd name="T44" fmla="*/ 2147483647 w 761"/>
                            <a:gd name="T45" fmla="*/ 2147483647 h 633"/>
                            <a:gd name="T46" fmla="*/ 2147483647 w 761"/>
                            <a:gd name="T47" fmla="*/ 2147483647 h 633"/>
                            <a:gd name="T48" fmla="*/ 2147483647 w 761"/>
                            <a:gd name="T49" fmla="*/ 2147483647 h 633"/>
                            <a:gd name="T50" fmla="*/ 2147483647 w 761"/>
                            <a:gd name="T51" fmla="*/ 2147483647 h 633"/>
                            <a:gd name="T52" fmla="*/ 2147483647 w 761"/>
                            <a:gd name="T53" fmla="*/ 2147483647 h 633"/>
                            <a:gd name="T54" fmla="*/ 0 w 761"/>
                            <a:gd name="T55" fmla="*/ 2147483647 h 633"/>
                            <a:gd name="T56" fmla="*/ 2147483647 w 761"/>
                            <a:gd name="T57" fmla="*/ 2147483647 h 633"/>
                            <a:gd name="T58" fmla="*/ 2147483647 w 761"/>
                            <a:gd name="T59" fmla="*/ 2147483647 h 633"/>
                            <a:gd name="T60" fmla="*/ 2147483647 w 761"/>
                            <a:gd name="T61" fmla="*/ 0 h 633"/>
                            <a:gd name="T62" fmla="*/ 2147483647 w 761"/>
                            <a:gd name="T63" fmla="*/ 2147483647 h 633"/>
                            <a:gd name="T64" fmla="*/ 2147483647 w 761"/>
                            <a:gd name="T65" fmla="*/ 2147483647 h 633"/>
                            <a:gd name="T66" fmla="*/ 2147483647 w 761"/>
                            <a:gd name="T67" fmla="*/ 2147483647 h 633"/>
                            <a:gd name="T68" fmla="*/ 2147483647 w 761"/>
                            <a:gd name="T69" fmla="*/ 2147483647 h 633"/>
                            <a:gd name="T70" fmla="*/ 2147483647 w 761"/>
                            <a:gd name="T71" fmla="*/ 2147483647 h 633"/>
                            <a:gd name="T72" fmla="*/ 2147483647 w 761"/>
                            <a:gd name="T73" fmla="*/ 2147483647 h 633"/>
                            <a:gd name="T74" fmla="*/ 2147483647 w 761"/>
                            <a:gd name="T75" fmla="*/ 2147483647 h 633"/>
                            <a:gd name="T76" fmla="*/ 2147483647 w 761"/>
                            <a:gd name="T77" fmla="*/ 2147483647 h 633"/>
                            <a:gd name="T78" fmla="*/ 2147483647 w 761"/>
                            <a:gd name="T79" fmla="*/ 2147483647 h 633"/>
                            <a:gd name="T80" fmla="*/ 2147483647 w 761"/>
                            <a:gd name="T81" fmla="*/ 2147483647 h 633"/>
                            <a:gd name="T82" fmla="*/ 2147483647 w 761"/>
                            <a:gd name="T83" fmla="*/ 2147483647 h 633"/>
                            <a:gd name="T84" fmla="*/ 2147483647 w 761"/>
                            <a:gd name="T85" fmla="*/ 2147483647 h 633"/>
                            <a:gd name="T86" fmla="*/ 2147483647 w 761"/>
                            <a:gd name="T87" fmla="*/ 2147483647 h 633"/>
                            <a:gd name="T88" fmla="*/ 2147483647 w 761"/>
                            <a:gd name="T89" fmla="*/ 2147483647 h 633"/>
                            <a:gd name="T90" fmla="*/ 2147483647 w 761"/>
                            <a:gd name="T91" fmla="*/ 2147483647 h 633"/>
                            <a:gd name="T92" fmla="*/ 2147483647 w 761"/>
                            <a:gd name="T93" fmla="*/ 2147483647 h 633"/>
                            <a:gd name="T94" fmla="*/ 2147483647 w 761"/>
                            <a:gd name="T95" fmla="*/ 2147483647 h 633"/>
                            <a:gd name="T96" fmla="*/ 2147483647 w 761"/>
                            <a:gd name="T97" fmla="*/ 2147483647 h 633"/>
                            <a:gd name="T98" fmla="*/ 2147483647 w 761"/>
                            <a:gd name="T99" fmla="*/ 2147483647 h 633"/>
                            <a:gd name="T100" fmla="*/ 2147483647 w 761"/>
                            <a:gd name="T101" fmla="*/ 2147483647 h 633"/>
                            <a:gd name="T102" fmla="*/ 2147483647 w 761"/>
                            <a:gd name="T103" fmla="*/ 2147483647 h 633"/>
                            <a:gd name="T104" fmla="*/ 2147483647 w 761"/>
                            <a:gd name="T105" fmla="*/ 2147483647 h 633"/>
                            <a:gd name="T106" fmla="*/ 2147483647 w 761"/>
                            <a:gd name="T107" fmla="*/ 2147483647 h 633"/>
                            <a:gd name="T108" fmla="*/ 2147483647 w 761"/>
                            <a:gd name="T109" fmla="*/ 2147483647 h 63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61"/>
                            <a:gd name="T166" fmla="*/ 0 h 633"/>
                            <a:gd name="T167" fmla="*/ 761 w 761"/>
                            <a:gd name="T168" fmla="*/ 633 h 63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61" h="633">
                              <a:moveTo>
                                <a:pt x="696" y="480"/>
                              </a:moveTo>
                              <a:lnTo>
                                <a:pt x="696" y="488"/>
                              </a:lnTo>
                              <a:lnTo>
                                <a:pt x="688" y="504"/>
                              </a:lnTo>
                              <a:lnTo>
                                <a:pt x="672" y="504"/>
                              </a:lnTo>
                              <a:lnTo>
                                <a:pt x="664" y="488"/>
                              </a:lnTo>
                              <a:lnTo>
                                <a:pt x="656" y="488"/>
                              </a:lnTo>
                              <a:lnTo>
                                <a:pt x="632" y="432"/>
                              </a:lnTo>
                              <a:lnTo>
                                <a:pt x="608" y="432"/>
                              </a:lnTo>
                              <a:lnTo>
                                <a:pt x="592" y="416"/>
                              </a:lnTo>
                              <a:lnTo>
                                <a:pt x="584" y="424"/>
                              </a:lnTo>
                              <a:lnTo>
                                <a:pt x="576" y="456"/>
                              </a:lnTo>
                              <a:lnTo>
                                <a:pt x="552" y="440"/>
                              </a:lnTo>
                              <a:lnTo>
                                <a:pt x="552" y="464"/>
                              </a:lnTo>
                              <a:lnTo>
                                <a:pt x="536" y="472"/>
                              </a:lnTo>
                              <a:lnTo>
                                <a:pt x="528" y="464"/>
                              </a:lnTo>
                              <a:lnTo>
                                <a:pt x="512" y="464"/>
                              </a:lnTo>
                              <a:lnTo>
                                <a:pt x="488" y="456"/>
                              </a:lnTo>
                              <a:lnTo>
                                <a:pt x="472" y="472"/>
                              </a:lnTo>
                              <a:lnTo>
                                <a:pt x="480" y="496"/>
                              </a:lnTo>
                              <a:lnTo>
                                <a:pt x="504" y="496"/>
                              </a:lnTo>
                              <a:lnTo>
                                <a:pt x="512" y="528"/>
                              </a:lnTo>
                              <a:lnTo>
                                <a:pt x="456" y="528"/>
                              </a:lnTo>
                              <a:lnTo>
                                <a:pt x="440" y="504"/>
                              </a:lnTo>
                              <a:lnTo>
                                <a:pt x="416" y="520"/>
                              </a:lnTo>
                              <a:lnTo>
                                <a:pt x="392" y="504"/>
                              </a:lnTo>
                              <a:lnTo>
                                <a:pt x="392" y="456"/>
                              </a:lnTo>
                              <a:lnTo>
                                <a:pt x="360" y="456"/>
                              </a:lnTo>
                              <a:lnTo>
                                <a:pt x="360" y="488"/>
                              </a:lnTo>
                              <a:lnTo>
                                <a:pt x="336" y="496"/>
                              </a:lnTo>
                              <a:lnTo>
                                <a:pt x="336" y="504"/>
                              </a:lnTo>
                              <a:lnTo>
                                <a:pt x="312" y="536"/>
                              </a:lnTo>
                              <a:lnTo>
                                <a:pt x="296" y="536"/>
                              </a:lnTo>
                              <a:lnTo>
                                <a:pt x="296" y="632"/>
                              </a:lnTo>
                              <a:lnTo>
                                <a:pt x="272" y="632"/>
                              </a:lnTo>
                              <a:lnTo>
                                <a:pt x="264" y="616"/>
                              </a:lnTo>
                              <a:lnTo>
                                <a:pt x="248" y="632"/>
                              </a:lnTo>
                              <a:lnTo>
                                <a:pt x="216" y="632"/>
                              </a:lnTo>
                              <a:lnTo>
                                <a:pt x="216" y="624"/>
                              </a:lnTo>
                              <a:lnTo>
                                <a:pt x="200" y="616"/>
                              </a:lnTo>
                              <a:lnTo>
                                <a:pt x="200" y="576"/>
                              </a:lnTo>
                              <a:lnTo>
                                <a:pt x="160" y="496"/>
                              </a:lnTo>
                              <a:lnTo>
                                <a:pt x="144" y="496"/>
                              </a:lnTo>
                              <a:lnTo>
                                <a:pt x="144" y="504"/>
                              </a:lnTo>
                              <a:lnTo>
                                <a:pt x="128" y="480"/>
                              </a:lnTo>
                              <a:lnTo>
                                <a:pt x="136" y="472"/>
                              </a:lnTo>
                              <a:lnTo>
                                <a:pt x="104" y="424"/>
                              </a:lnTo>
                              <a:lnTo>
                                <a:pt x="88" y="432"/>
                              </a:lnTo>
                              <a:lnTo>
                                <a:pt x="80" y="464"/>
                              </a:lnTo>
                              <a:lnTo>
                                <a:pt x="64" y="472"/>
                              </a:lnTo>
                              <a:lnTo>
                                <a:pt x="72" y="248"/>
                              </a:lnTo>
                              <a:lnTo>
                                <a:pt x="56" y="224"/>
                              </a:lnTo>
                              <a:lnTo>
                                <a:pt x="72" y="216"/>
                              </a:lnTo>
                              <a:lnTo>
                                <a:pt x="40" y="160"/>
                              </a:lnTo>
                              <a:lnTo>
                                <a:pt x="40" y="136"/>
                              </a:lnTo>
                              <a:lnTo>
                                <a:pt x="16" y="112"/>
                              </a:lnTo>
                              <a:lnTo>
                                <a:pt x="0" y="104"/>
                              </a:lnTo>
                              <a:lnTo>
                                <a:pt x="0" y="96"/>
                              </a:lnTo>
                              <a:lnTo>
                                <a:pt x="8" y="64"/>
                              </a:lnTo>
                              <a:lnTo>
                                <a:pt x="24" y="48"/>
                              </a:lnTo>
                              <a:lnTo>
                                <a:pt x="16" y="32"/>
                              </a:lnTo>
                              <a:lnTo>
                                <a:pt x="16" y="0"/>
                              </a:lnTo>
                              <a:lnTo>
                                <a:pt x="32" y="0"/>
                              </a:lnTo>
                              <a:lnTo>
                                <a:pt x="40" y="16"/>
                              </a:lnTo>
                              <a:lnTo>
                                <a:pt x="64" y="16"/>
                              </a:lnTo>
                              <a:lnTo>
                                <a:pt x="88" y="40"/>
                              </a:lnTo>
                              <a:lnTo>
                                <a:pt x="88" y="80"/>
                              </a:lnTo>
                              <a:lnTo>
                                <a:pt x="104" y="80"/>
                              </a:lnTo>
                              <a:lnTo>
                                <a:pt x="128" y="120"/>
                              </a:lnTo>
                              <a:lnTo>
                                <a:pt x="152" y="112"/>
                              </a:lnTo>
                              <a:lnTo>
                                <a:pt x="152" y="104"/>
                              </a:lnTo>
                              <a:lnTo>
                                <a:pt x="160" y="112"/>
                              </a:lnTo>
                              <a:lnTo>
                                <a:pt x="176" y="128"/>
                              </a:lnTo>
                              <a:lnTo>
                                <a:pt x="216" y="128"/>
                              </a:lnTo>
                              <a:lnTo>
                                <a:pt x="224" y="96"/>
                              </a:lnTo>
                              <a:lnTo>
                                <a:pt x="256" y="88"/>
                              </a:lnTo>
                              <a:lnTo>
                                <a:pt x="288" y="96"/>
                              </a:lnTo>
                              <a:lnTo>
                                <a:pt x="304" y="72"/>
                              </a:lnTo>
                              <a:lnTo>
                                <a:pt x="296" y="40"/>
                              </a:lnTo>
                              <a:lnTo>
                                <a:pt x="296" y="32"/>
                              </a:lnTo>
                              <a:lnTo>
                                <a:pt x="320" y="32"/>
                              </a:lnTo>
                              <a:lnTo>
                                <a:pt x="336" y="24"/>
                              </a:lnTo>
                              <a:lnTo>
                                <a:pt x="344" y="48"/>
                              </a:lnTo>
                              <a:lnTo>
                                <a:pt x="384" y="72"/>
                              </a:lnTo>
                              <a:lnTo>
                                <a:pt x="400" y="72"/>
                              </a:lnTo>
                              <a:lnTo>
                                <a:pt x="400" y="88"/>
                              </a:lnTo>
                              <a:lnTo>
                                <a:pt x="416" y="136"/>
                              </a:lnTo>
                              <a:lnTo>
                                <a:pt x="432" y="152"/>
                              </a:lnTo>
                              <a:lnTo>
                                <a:pt x="472" y="160"/>
                              </a:lnTo>
                              <a:lnTo>
                                <a:pt x="496" y="128"/>
                              </a:lnTo>
                              <a:lnTo>
                                <a:pt x="512" y="136"/>
                              </a:lnTo>
                              <a:lnTo>
                                <a:pt x="520" y="152"/>
                              </a:lnTo>
                              <a:lnTo>
                                <a:pt x="552" y="144"/>
                              </a:lnTo>
                              <a:lnTo>
                                <a:pt x="592" y="176"/>
                              </a:lnTo>
                              <a:lnTo>
                                <a:pt x="624" y="184"/>
                              </a:lnTo>
                              <a:lnTo>
                                <a:pt x="656" y="192"/>
                              </a:lnTo>
                              <a:lnTo>
                                <a:pt x="704" y="224"/>
                              </a:lnTo>
                              <a:lnTo>
                                <a:pt x="728" y="232"/>
                              </a:lnTo>
                              <a:lnTo>
                                <a:pt x="760" y="256"/>
                              </a:lnTo>
                              <a:lnTo>
                                <a:pt x="760" y="296"/>
                              </a:lnTo>
                              <a:lnTo>
                                <a:pt x="744" y="296"/>
                              </a:lnTo>
                              <a:lnTo>
                                <a:pt x="712" y="312"/>
                              </a:lnTo>
                              <a:lnTo>
                                <a:pt x="664" y="312"/>
                              </a:lnTo>
                              <a:lnTo>
                                <a:pt x="648" y="328"/>
                              </a:lnTo>
                              <a:lnTo>
                                <a:pt x="648" y="336"/>
                              </a:lnTo>
                              <a:lnTo>
                                <a:pt x="656" y="352"/>
                              </a:lnTo>
                              <a:lnTo>
                                <a:pt x="656" y="360"/>
                              </a:lnTo>
                              <a:lnTo>
                                <a:pt x="648" y="376"/>
                              </a:lnTo>
                              <a:lnTo>
                                <a:pt x="656" y="376"/>
                              </a:lnTo>
                              <a:lnTo>
                                <a:pt x="696" y="424"/>
                              </a:lnTo>
                              <a:lnTo>
                                <a:pt x="704" y="456"/>
                              </a:lnTo>
                              <a:lnTo>
                                <a:pt x="696" y="480"/>
                              </a:lnTo>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31" name="Freeform 12"/>
                        <p:cNvSpPr>
                          <a:spLocks noChangeArrowheads="1"/>
                        </p:cNvSpPr>
                        <p:nvPr/>
                      </p:nvSpPr>
                      <p:spPr bwMode="auto">
                        <a:xfrm>
                          <a:off x="0" y="1470104"/>
                          <a:ext cx="1656962" cy="1074961"/>
                        </a:xfrm>
                        <a:custGeom>
                          <a:avLst/>
                          <a:gdLst>
                            <a:gd name="T0" fmla="*/ 2147483647 w 895"/>
                            <a:gd name="T1" fmla="*/ 2147483647 h 505"/>
                            <a:gd name="T2" fmla="*/ 2147483647 w 895"/>
                            <a:gd name="T3" fmla="*/ 2147483647 h 505"/>
                            <a:gd name="T4" fmla="*/ 2147483647 w 895"/>
                            <a:gd name="T5" fmla="*/ 2147483647 h 505"/>
                            <a:gd name="T6" fmla="*/ 0 w 895"/>
                            <a:gd name="T7" fmla="*/ 2147483647 h 505"/>
                            <a:gd name="T8" fmla="*/ 2147483647 w 895"/>
                            <a:gd name="T9" fmla="*/ 2147483647 h 505"/>
                            <a:gd name="T10" fmla="*/ 2147483647 w 895"/>
                            <a:gd name="T11" fmla="*/ 2147483647 h 505"/>
                            <a:gd name="T12" fmla="*/ 2147483647 w 895"/>
                            <a:gd name="T13" fmla="*/ 2147483647 h 505"/>
                            <a:gd name="T14" fmla="*/ 2147483647 w 895"/>
                            <a:gd name="T15" fmla="*/ 2147483647 h 505"/>
                            <a:gd name="T16" fmla="*/ 2147483647 w 895"/>
                            <a:gd name="T17" fmla="*/ 2147483647 h 505"/>
                            <a:gd name="T18" fmla="*/ 2147483647 w 895"/>
                            <a:gd name="T19" fmla="*/ 2147483647 h 505"/>
                            <a:gd name="T20" fmla="*/ 2147483647 w 895"/>
                            <a:gd name="T21" fmla="*/ 2147483647 h 505"/>
                            <a:gd name="T22" fmla="*/ 2147483647 w 895"/>
                            <a:gd name="T23" fmla="*/ 2147483647 h 505"/>
                            <a:gd name="T24" fmla="*/ 2147483647 w 895"/>
                            <a:gd name="T25" fmla="*/ 2147483647 h 505"/>
                            <a:gd name="T26" fmla="*/ 2147483647 w 895"/>
                            <a:gd name="T27" fmla="*/ 2147483647 h 505"/>
                            <a:gd name="T28" fmla="*/ 2147483647 w 895"/>
                            <a:gd name="T29" fmla="*/ 2147483647 h 505"/>
                            <a:gd name="T30" fmla="*/ 2147483647 w 895"/>
                            <a:gd name="T31" fmla="*/ 2147483647 h 505"/>
                            <a:gd name="T32" fmla="*/ 2147483647 w 895"/>
                            <a:gd name="T33" fmla="*/ 2147483647 h 505"/>
                            <a:gd name="T34" fmla="*/ 2147483647 w 895"/>
                            <a:gd name="T35" fmla="*/ 2147483647 h 505"/>
                            <a:gd name="T36" fmla="*/ 2147483647 w 895"/>
                            <a:gd name="T37" fmla="*/ 2147483647 h 505"/>
                            <a:gd name="T38" fmla="*/ 2147483647 w 895"/>
                            <a:gd name="T39" fmla="*/ 2147483647 h 505"/>
                            <a:gd name="T40" fmla="*/ 2147483647 w 895"/>
                            <a:gd name="T41" fmla="*/ 2147483647 h 505"/>
                            <a:gd name="T42" fmla="*/ 2147483647 w 895"/>
                            <a:gd name="T43" fmla="*/ 2147483647 h 505"/>
                            <a:gd name="T44" fmla="*/ 2147483647 w 895"/>
                            <a:gd name="T45" fmla="*/ 2147483647 h 505"/>
                            <a:gd name="T46" fmla="*/ 2147483647 w 895"/>
                            <a:gd name="T47" fmla="*/ 2147483647 h 505"/>
                            <a:gd name="T48" fmla="*/ 2147483647 w 895"/>
                            <a:gd name="T49" fmla="*/ 2147483647 h 505"/>
                            <a:gd name="T50" fmla="*/ 2147483647 w 895"/>
                            <a:gd name="T51" fmla="*/ 2147483647 h 505"/>
                            <a:gd name="T52" fmla="*/ 2147483647 w 895"/>
                            <a:gd name="T53" fmla="*/ 2147483647 h 505"/>
                            <a:gd name="T54" fmla="*/ 2147483647 w 895"/>
                            <a:gd name="T55" fmla="*/ 2147483647 h 505"/>
                            <a:gd name="T56" fmla="*/ 2147483647 w 895"/>
                            <a:gd name="T57" fmla="*/ 2147483647 h 505"/>
                            <a:gd name="T58" fmla="*/ 2147483647 w 895"/>
                            <a:gd name="T59" fmla="*/ 2147483647 h 505"/>
                            <a:gd name="T60" fmla="*/ 2147483647 w 895"/>
                            <a:gd name="T61" fmla="*/ 2147483647 h 505"/>
                            <a:gd name="T62" fmla="*/ 2147483647 w 895"/>
                            <a:gd name="T63" fmla="*/ 2147483647 h 505"/>
                            <a:gd name="T64" fmla="*/ 2147483647 w 895"/>
                            <a:gd name="T65" fmla="*/ 2147483647 h 505"/>
                            <a:gd name="T66" fmla="*/ 2147483647 w 895"/>
                            <a:gd name="T67" fmla="*/ 2147483647 h 505"/>
                            <a:gd name="T68" fmla="*/ 2147483647 w 895"/>
                            <a:gd name="T69" fmla="*/ 2147483647 h 505"/>
                            <a:gd name="T70" fmla="*/ 2147483647 w 895"/>
                            <a:gd name="T71" fmla="*/ 2147483647 h 505"/>
                            <a:gd name="T72" fmla="*/ 2147483647 w 895"/>
                            <a:gd name="T73" fmla="*/ 2147483647 h 505"/>
                            <a:gd name="T74" fmla="*/ 2147483647 w 895"/>
                            <a:gd name="T75" fmla="*/ 2147483647 h 505"/>
                            <a:gd name="T76" fmla="*/ 2147483647 w 895"/>
                            <a:gd name="T77" fmla="*/ 2147483647 h 505"/>
                            <a:gd name="T78" fmla="*/ 2147483647 w 895"/>
                            <a:gd name="T79" fmla="*/ 2147483647 h 505"/>
                            <a:gd name="T80" fmla="*/ 2147483647 w 895"/>
                            <a:gd name="T81" fmla="*/ 2147483647 h 505"/>
                            <a:gd name="T82" fmla="*/ 2147483647 w 895"/>
                            <a:gd name="T83" fmla="*/ 2147483647 h 505"/>
                            <a:gd name="T84" fmla="*/ 2147483647 w 895"/>
                            <a:gd name="T85" fmla="*/ 2147483647 h 505"/>
                            <a:gd name="T86" fmla="*/ 2147483647 w 895"/>
                            <a:gd name="T87" fmla="*/ 2147483647 h 505"/>
                            <a:gd name="T88" fmla="*/ 2147483647 w 895"/>
                            <a:gd name="T89" fmla="*/ 2147483647 h 505"/>
                            <a:gd name="T90" fmla="*/ 2147483647 w 895"/>
                            <a:gd name="T91" fmla="*/ 2147483647 h 505"/>
                            <a:gd name="T92" fmla="*/ 2147483647 w 895"/>
                            <a:gd name="T93" fmla="*/ 2147483647 h 505"/>
                            <a:gd name="T94" fmla="*/ 2147483647 w 895"/>
                            <a:gd name="T95" fmla="*/ 2147483647 h 505"/>
                            <a:gd name="T96" fmla="*/ 2147483647 w 895"/>
                            <a:gd name="T97" fmla="*/ 2147483647 h 505"/>
                            <a:gd name="T98" fmla="*/ 2147483647 w 895"/>
                            <a:gd name="T99" fmla="*/ 2147483647 h 505"/>
                            <a:gd name="T100" fmla="*/ 2147483647 w 895"/>
                            <a:gd name="T101" fmla="*/ 2147483647 h 505"/>
                            <a:gd name="T102" fmla="*/ 2147483647 w 895"/>
                            <a:gd name="T103" fmla="*/ 2147483647 h 505"/>
                            <a:gd name="T104" fmla="*/ 2147483647 w 895"/>
                            <a:gd name="T105" fmla="*/ 2147483647 h 505"/>
                            <a:gd name="T106" fmla="*/ 2147483647 w 895"/>
                            <a:gd name="T107" fmla="*/ 2147483647 h 505"/>
                            <a:gd name="T108" fmla="*/ 2147483647 w 895"/>
                            <a:gd name="T109" fmla="*/ 2147483647 h 505"/>
                            <a:gd name="T110" fmla="*/ 2147483647 w 895"/>
                            <a:gd name="T111" fmla="*/ 2147483647 h 505"/>
                            <a:gd name="T112" fmla="*/ 2147483647 w 895"/>
                            <a:gd name="T113" fmla="*/ 2147483647 h 505"/>
                            <a:gd name="T114" fmla="*/ 2147483647 w 895"/>
                            <a:gd name="T115" fmla="*/ 2147483647 h 505"/>
                            <a:gd name="T116" fmla="*/ 2147483647 w 895"/>
                            <a:gd name="T117" fmla="*/ 2147483647 h 505"/>
                            <a:gd name="T118" fmla="*/ 2147483647 w 895"/>
                            <a:gd name="T119" fmla="*/ 2147483647 h 505"/>
                            <a:gd name="T120" fmla="*/ 2147483647 w 895"/>
                            <a:gd name="T121" fmla="*/ 0 h 505"/>
                            <a:gd name="T122" fmla="*/ 2147483647 w 895"/>
                            <a:gd name="T123" fmla="*/ 2147483647 h 505"/>
                            <a:gd name="T124" fmla="*/ 2147483647 w 895"/>
                            <a:gd name="T125" fmla="*/ 2147483647 h 50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95"/>
                            <a:gd name="T190" fmla="*/ 0 h 505"/>
                            <a:gd name="T191" fmla="*/ 895 w 895"/>
                            <a:gd name="T192" fmla="*/ 505 h 50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95" h="505">
                              <a:moveTo>
                                <a:pt x="56" y="33"/>
                              </a:moveTo>
                              <a:lnTo>
                                <a:pt x="51" y="39"/>
                              </a:lnTo>
                              <a:lnTo>
                                <a:pt x="42" y="39"/>
                              </a:lnTo>
                              <a:lnTo>
                                <a:pt x="36" y="39"/>
                              </a:lnTo>
                              <a:lnTo>
                                <a:pt x="41" y="47"/>
                              </a:lnTo>
                              <a:lnTo>
                                <a:pt x="40" y="56"/>
                              </a:lnTo>
                              <a:lnTo>
                                <a:pt x="35" y="63"/>
                              </a:lnTo>
                              <a:lnTo>
                                <a:pt x="35" y="72"/>
                              </a:lnTo>
                              <a:lnTo>
                                <a:pt x="44" y="86"/>
                              </a:lnTo>
                              <a:lnTo>
                                <a:pt x="45" y="102"/>
                              </a:lnTo>
                              <a:lnTo>
                                <a:pt x="42" y="110"/>
                              </a:lnTo>
                              <a:lnTo>
                                <a:pt x="41" y="118"/>
                              </a:lnTo>
                              <a:lnTo>
                                <a:pt x="34" y="118"/>
                              </a:lnTo>
                              <a:lnTo>
                                <a:pt x="24" y="121"/>
                              </a:lnTo>
                              <a:lnTo>
                                <a:pt x="19" y="118"/>
                              </a:lnTo>
                              <a:lnTo>
                                <a:pt x="14" y="114"/>
                              </a:lnTo>
                              <a:lnTo>
                                <a:pt x="16" y="107"/>
                              </a:lnTo>
                              <a:lnTo>
                                <a:pt x="20" y="102"/>
                              </a:lnTo>
                              <a:lnTo>
                                <a:pt x="11" y="104"/>
                              </a:lnTo>
                              <a:lnTo>
                                <a:pt x="0" y="104"/>
                              </a:lnTo>
                              <a:lnTo>
                                <a:pt x="0" y="114"/>
                              </a:lnTo>
                              <a:lnTo>
                                <a:pt x="0" y="124"/>
                              </a:lnTo>
                              <a:lnTo>
                                <a:pt x="3" y="135"/>
                              </a:lnTo>
                              <a:lnTo>
                                <a:pt x="2" y="142"/>
                              </a:lnTo>
                              <a:lnTo>
                                <a:pt x="5" y="152"/>
                              </a:lnTo>
                              <a:lnTo>
                                <a:pt x="0" y="159"/>
                              </a:lnTo>
                              <a:lnTo>
                                <a:pt x="0" y="167"/>
                              </a:lnTo>
                              <a:lnTo>
                                <a:pt x="3" y="178"/>
                              </a:lnTo>
                              <a:lnTo>
                                <a:pt x="9" y="180"/>
                              </a:lnTo>
                              <a:lnTo>
                                <a:pt x="16" y="183"/>
                              </a:lnTo>
                              <a:lnTo>
                                <a:pt x="24" y="187"/>
                              </a:lnTo>
                              <a:lnTo>
                                <a:pt x="30" y="192"/>
                              </a:lnTo>
                              <a:lnTo>
                                <a:pt x="36" y="197"/>
                              </a:lnTo>
                              <a:lnTo>
                                <a:pt x="41" y="202"/>
                              </a:lnTo>
                              <a:lnTo>
                                <a:pt x="41" y="209"/>
                              </a:lnTo>
                              <a:lnTo>
                                <a:pt x="46" y="215"/>
                              </a:lnTo>
                              <a:lnTo>
                                <a:pt x="56" y="220"/>
                              </a:lnTo>
                              <a:lnTo>
                                <a:pt x="62" y="225"/>
                              </a:lnTo>
                              <a:lnTo>
                                <a:pt x="70" y="232"/>
                              </a:lnTo>
                              <a:lnTo>
                                <a:pt x="74" y="238"/>
                              </a:lnTo>
                              <a:lnTo>
                                <a:pt x="79" y="251"/>
                              </a:lnTo>
                              <a:lnTo>
                                <a:pt x="87" y="251"/>
                              </a:lnTo>
                              <a:lnTo>
                                <a:pt x="94" y="246"/>
                              </a:lnTo>
                              <a:lnTo>
                                <a:pt x="96" y="239"/>
                              </a:lnTo>
                              <a:lnTo>
                                <a:pt x="106" y="237"/>
                              </a:lnTo>
                              <a:lnTo>
                                <a:pt x="113" y="240"/>
                              </a:lnTo>
                              <a:lnTo>
                                <a:pt x="126" y="248"/>
                              </a:lnTo>
                              <a:lnTo>
                                <a:pt x="128" y="258"/>
                              </a:lnTo>
                              <a:lnTo>
                                <a:pt x="129" y="265"/>
                              </a:lnTo>
                              <a:lnTo>
                                <a:pt x="139" y="268"/>
                              </a:lnTo>
                              <a:lnTo>
                                <a:pt x="144" y="276"/>
                              </a:lnTo>
                              <a:lnTo>
                                <a:pt x="147" y="282"/>
                              </a:lnTo>
                              <a:lnTo>
                                <a:pt x="153" y="287"/>
                              </a:lnTo>
                              <a:lnTo>
                                <a:pt x="161" y="290"/>
                              </a:lnTo>
                              <a:lnTo>
                                <a:pt x="166" y="295"/>
                              </a:lnTo>
                              <a:lnTo>
                                <a:pt x="173" y="297"/>
                              </a:lnTo>
                              <a:lnTo>
                                <a:pt x="173" y="306"/>
                              </a:lnTo>
                              <a:lnTo>
                                <a:pt x="180" y="318"/>
                              </a:lnTo>
                              <a:lnTo>
                                <a:pt x="186" y="316"/>
                              </a:lnTo>
                              <a:lnTo>
                                <a:pt x="193" y="315"/>
                              </a:lnTo>
                              <a:lnTo>
                                <a:pt x="201" y="315"/>
                              </a:lnTo>
                              <a:lnTo>
                                <a:pt x="205" y="324"/>
                              </a:lnTo>
                              <a:lnTo>
                                <a:pt x="204" y="339"/>
                              </a:lnTo>
                              <a:lnTo>
                                <a:pt x="213" y="341"/>
                              </a:lnTo>
                              <a:lnTo>
                                <a:pt x="220" y="349"/>
                              </a:lnTo>
                              <a:lnTo>
                                <a:pt x="221" y="356"/>
                              </a:lnTo>
                              <a:lnTo>
                                <a:pt x="227" y="356"/>
                              </a:lnTo>
                              <a:lnTo>
                                <a:pt x="236" y="354"/>
                              </a:lnTo>
                              <a:lnTo>
                                <a:pt x="241" y="358"/>
                              </a:lnTo>
                              <a:lnTo>
                                <a:pt x="237" y="367"/>
                              </a:lnTo>
                              <a:lnTo>
                                <a:pt x="248" y="372"/>
                              </a:lnTo>
                              <a:lnTo>
                                <a:pt x="257" y="375"/>
                              </a:lnTo>
                              <a:lnTo>
                                <a:pt x="271" y="377"/>
                              </a:lnTo>
                              <a:lnTo>
                                <a:pt x="266" y="380"/>
                              </a:lnTo>
                              <a:lnTo>
                                <a:pt x="271" y="395"/>
                              </a:lnTo>
                              <a:lnTo>
                                <a:pt x="277" y="401"/>
                              </a:lnTo>
                              <a:lnTo>
                                <a:pt x="282" y="396"/>
                              </a:lnTo>
                              <a:lnTo>
                                <a:pt x="288" y="401"/>
                              </a:lnTo>
                              <a:lnTo>
                                <a:pt x="297" y="400"/>
                              </a:lnTo>
                              <a:lnTo>
                                <a:pt x="303" y="395"/>
                              </a:lnTo>
                              <a:lnTo>
                                <a:pt x="310" y="400"/>
                              </a:lnTo>
                              <a:lnTo>
                                <a:pt x="318" y="410"/>
                              </a:lnTo>
                              <a:lnTo>
                                <a:pt x="324" y="413"/>
                              </a:lnTo>
                              <a:lnTo>
                                <a:pt x="337" y="415"/>
                              </a:lnTo>
                              <a:lnTo>
                                <a:pt x="344" y="419"/>
                              </a:lnTo>
                              <a:lnTo>
                                <a:pt x="353" y="420"/>
                              </a:lnTo>
                              <a:lnTo>
                                <a:pt x="363" y="418"/>
                              </a:lnTo>
                              <a:lnTo>
                                <a:pt x="369" y="418"/>
                              </a:lnTo>
                              <a:lnTo>
                                <a:pt x="379" y="418"/>
                              </a:lnTo>
                              <a:lnTo>
                                <a:pt x="389" y="418"/>
                              </a:lnTo>
                              <a:lnTo>
                                <a:pt x="394" y="414"/>
                              </a:lnTo>
                              <a:lnTo>
                                <a:pt x="402" y="415"/>
                              </a:lnTo>
                              <a:lnTo>
                                <a:pt x="401" y="425"/>
                              </a:lnTo>
                              <a:lnTo>
                                <a:pt x="404" y="430"/>
                              </a:lnTo>
                              <a:lnTo>
                                <a:pt x="395" y="436"/>
                              </a:lnTo>
                              <a:lnTo>
                                <a:pt x="392" y="441"/>
                              </a:lnTo>
                              <a:lnTo>
                                <a:pt x="396" y="448"/>
                              </a:lnTo>
                              <a:lnTo>
                                <a:pt x="401" y="456"/>
                              </a:lnTo>
                              <a:lnTo>
                                <a:pt x="409" y="455"/>
                              </a:lnTo>
                              <a:lnTo>
                                <a:pt x="415" y="448"/>
                              </a:lnTo>
                              <a:lnTo>
                                <a:pt x="415" y="441"/>
                              </a:lnTo>
                              <a:lnTo>
                                <a:pt x="420" y="433"/>
                              </a:lnTo>
                              <a:lnTo>
                                <a:pt x="432" y="428"/>
                              </a:lnTo>
                              <a:lnTo>
                                <a:pt x="446" y="418"/>
                              </a:lnTo>
                              <a:lnTo>
                                <a:pt x="453" y="418"/>
                              </a:lnTo>
                              <a:lnTo>
                                <a:pt x="463" y="423"/>
                              </a:lnTo>
                              <a:lnTo>
                                <a:pt x="473" y="429"/>
                              </a:lnTo>
                              <a:lnTo>
                                <a:pt x="493" y="436"/>
                              </a:lnTo>
                              <a:lnTo>
                                <a:pt x="509" y="443"/>
                              </a:lnTo>
                              <a:lnTo>
                                <a:pt x="520" y="439"/>
                              </a:lnTo>
                              <a:lnTo>
                                <a:pt x="525" y="443"/>
                              </a:lnTo>
                              <a:lnTo>
                                <a:pt x="530" y="446"/>
                              </a:lnTo>
                              <a:lnTo>
                                <a:pt x="529" y="452"/>
                              </a:lnTo>
                              <a:lnTo>
                                <a:pt x="533" y="456"/>
                              </a:lnTo>
                              <a:lnTo>
                                <a:pt x="526" y="462"/>
                              </a:lnTo>
                              <a:lnTo>
                                <a:pt x="529" y="468"/>
                              </a:lnTo>
                              <a:lnTo>
                                <a:pt x="538" y="468"/>
                              </a:lnTo>
                              <a:lnTo>
                                <a:pt x="546" y="470"/>
                              </a:lnTo>
                              <a:lnTo>
                                <a:pt x="549" y="479"/>
                              </a:lnTo>
                              <a:lnTo>
                                <a:pt x="541" y="482"/>
                              </a:lnTo>
                              <a:lnTo>
                                <a:pt x="540" y="490"/>
                              </a:lnTo>
                              <a:lnTo>
                                <a:pt x="544" y="495"/>
                              </a:lnTo>
                              <a:lnTo>
                                <a:pt x="558" y="501"/>
                              </a:lnTo>
                              <a:lnTo>
                                <a:pt x="573" y="500"/>
                              </a:lnTo>
                              <a:lnTo>
                                <a:pt x="591" y="505"/>
                              </a:lnTo>
                              <a:lnTo>
                                <a:pt x="613" y="505"/>
                              </a:lnTo>
                              <a:lnTo>
                                <a:pt x="626" y="504"/>
                              </a:lnTo>
                              <a:lnTo>
                                <a:pt x="633" y="499"/>
                              </a:lnTo>
                              <a:lnTo>
                                <a:pt x="641" y="490"/>
                              </a:lnTo>
                              <a:lnTo>
                                <a:pt x="652" y="482"/>
                              </a:lnTo>
                              <a:lnTo>
                                <a:pt x="669" y="480"/>
                              </a:lnTo>
                              <a:lnTo>
                                <a:pt x="685" y="475"/>
                              </a:lnTo>
                              <a:lnTo>
                                <a:pt x="702" y="471"/>
                              </a:lnTo>
                              <a:lnTo>
                                <a:pt x="709" y="465"/>
                              </a:lnTo>
                              <a:lnTo>
                                <a:pt x="718" y="458"/>
                              </a:lnTo>
                              <a:lnTo>
                                <a:pt x="732" y="457"/>
                              </a:lnTo>
                              <a:lnTo>
                                <a:pt x="742" y="465"/>
                              </a:lnTo>
                              <a:lnTo>
                                <a:pt x="751" y="461"/>
                              </a:lnTo>
                              <a:lnTo>
                                <a:pt x="751" y="467"/>
                              </a:lnTo>
                              <a:lnTo>
                                <a:pt x="761" y="467"/>
                              </a:lnTo>
                              <a:lnTo>
                                <a:pt x="775" y="480"/>
                              </a:lnTo>
                              <a:lnTo>
                                <a:pt x="781" y="487"/>
                              </a:lnTo>
                              <a:lnTo>
                                <a:pt x="794" y="491"/>
                              </a:lnTo>
                              <a:lnTo>
                                <a:pt x="804" y="491"/>
                              </a:lnTo>
                              <a:lnTo>
                                <a:pt x="804" y="481"/>
                              </a:lnTo>
                              <a:lnTo>
                                <a:pt x="799" y="475"/>
                              </a:lnTo>
                              <a:lnTo>
                                <a:pt x="803" y="466"/>
                              </a:lnTo>
                              <a:lnTo>
                                <a:pt x="809" y="463"/>
                              </a:lnTo>
                              <a:lnTo>
                                <a:pt x="814" y="457"/>
                              </a:lnTo>
                              <a:lnTo>
                                <a:pt x="822" y="457"/>
                              </a:lnTo>
                              <a:lnTo>
                                <a:pt x="823" y="465"/>
                              </a:lnTo>
                              <a:lnTo>
                                <a:pt x="831" y="466"/>
                              </a:lnTo>
                              <a:lnTo>
                                <a:pt x="832" y="474"/>
                              </a:lnTo>
                              <a:lnTo>
                                <a:pt x="844" y="480"/>
                              </a:lnTo>
                              <a:lnTo>
                                <a:pt x="859" y="480"/>
                              </a:lnTo>
                              <a:lnTo>
                                <a:pt x="868" y="475"/>
                              </a:lnTo>
                              <a:lnTo>
                                <a:pt x="871" y="468"/>
                              </a:lnTo>
                              <a:lnTo>
                                <a:pt x="868" y="461"/>
                              </a:lnTo>
                              <a:lnTo>
                                <a:pt x="872" y="453"/>
                              </a:lnTo>
                              <a:lnTo>
                                <a:pt x="871" y="439"/>
                              </a:lnTo>
                              <a:lnTo>
                                <a:pt x="871" y="433"/>
                              </a:lnTo>
                              <a:lnTo>
                                <a:pt x="879" y="439"/>
                              </a:lnTo>
                              <a:lnTo>
                                <a:pt x="885" y="441"/>
                              </a:lnTo>
                              <a:lnTo>
                                <a:pt x="885" y="433"/>
                              </a:lnTo>
                              <a:lnTo>
                                <a:pt x="893" y="424"/>
                              </a:lnTo>
                              <a:lnTo>
                                <a:pt x="893" y="414"/>
                              </a:lnTo>
                              <a:lnTo>
                                <a:pt x="886" y="406"/>
                              </a:lnTo>
                              <a:lnTo>
                                <a:pt x="895" y="400"/>
                              </a:lnTo>
                              <a:lnTo>
                                <a:pt x="895" y="391"/>
                              </a:lnTo>
                              <a:lnTo>
                                <a:pt x="890" y="380"/>
                              </a:lnTo>
                              <a:lnTo>
                                <a:pt x="890" y="370"/>
                              </a:lnTo>
                              <a:lnTo>
                                <a:pt x="890" y="362"/>
                              </a:lnTo>
                              <a:lnTo>
                                <a:pt x="894" y="356"/>
                              </a:lnTo>
                              <a:lnTo>
                                <a:pt x="888" y="348"/>
                              </a:lnTo>
                              <a:lnTo>
                                <a:pt x="884" y="342"/>
                              </a:lnTo>
                              <a:lnTo>
                                <a:pt x="884" y="335"/>
                              </a:lnTo>
                              <a:lnTo>
                                <a:pt x="888" y="327"/>
                              </a:lnTo>
                              <a:lnTo>
                                <a:pt x="894" y="327"/>
                              </a:lnTo>
                              <a:lnTo>
                                <a:pt x="888" y="318"/>
                              </a:lnTo>
                              <a:lnTo>
                                <a:pt x="880" y="311"/>
                              </a:lnTo>
                              <a:lnTo>
                                <a:pt x="873" y="304"/>
                              </a:lnTo>
                              <a:lnTo>
                                <a:pt x="875" y="296"/>
                              </a:lnTo>
                              <a:lnTo>
                                <a:pt x="871" y="289"/>
                              </a:lnTo>
                              <a:lnTo>
                                <a:pt x="868" y="282"/>
                              </a:lnTo>
                              <a:lnTo>
                                <a:pt x="853" y="272"/>
                              </a:lnTo>
                              <a:lnTo>
                                <a:pt x="847" y="268"/>
                              </a:lnTo>
                              <a:lnTo>
                                <a:pt x="839" y="267"/>
                              </a:lnTo>
                              <a:lnTo>
                                <a:pt x="832" y="266"/>
                              </a:lnTo>
                              <a:lnTo>
                                <a:pt x="831" y="276"/>
                              </a:lnTo>
                              <a:lnTo>
                                <a:pt x="824" y="280"/>
                              </a:lnTo>
                              <a:lnTo>
                                <a:pt x="824" y="286"/>
                              </a:lnTo>
                              <a:lnTo>
                                <a:pt x="813" y="289"/>
                              </a:lnTo>
                              <a:lnTo>
                                <a:pt x="806" y="286"/>
                              </a:lnTo>
                              <a:lnTo>
                                <a:pt x="799" y="291"/>
                              </a:lnTo>
                              <a:lnTo>
                                <a:pt x="799" y="299"/>
                              </a:lnTo>
                              <a:lnTo>
                                <a:pt x="787" y="299"/>
                              </a:lnTo>
                              <a:lnTo>
                                <a:pt x="779" y="296"/>
                              </a:lnTo>
                              <a:lnTo>
                                <a:pt x="774" y="290"/>
                              </a:lnTo>
                              <a:lnTo>
                                <a:pt x="774" y="299"/>
                              </a:lnTo>
                              <a:lnTo>
                                <a:pt x="772" y="305"/>
                              </a:lnTo>
                              <a:lnTo>
                                <a:pt x="766" y="299"/>
                              </a:lnTo>
                              <a:lnTo>
                                <a:pt x="759" y="297"/>
                              </a:lnTo>
                              <a:lnTo>
                                <a:pt x="754" y="294"/>
                              </a:lnTo>
                              <a:lnTo>
                                <a:pt x="744" y="291"/>
                              </a:lnTo>
                              <a:lnTo>
                                <a:pt x="737" y="290"/>
                              </a:lnTo>
                              <a:lnTo>
                                <a:pt x="734" y="284"/>
                              </a:lnTo>
                              <a:lnTo>
                                <a:pt x="741" y="278"/>
                              </a:lnTo>
                              <a:lnTo>
                                <a:pt x="742" y="272"/>
                              </a:lnTo>
                              <a:lnTo>
                                <a:pt x="735" y="270"/>
                              </a:lnTo>
                              <a:lnTo>
                                <a:pt x="727" y="265"/>
                              </a:lnTo>
                              <a:lnTo>
                                <a:pt x="718" y="259"/>
                              </a:lnTo>
                              <a:lnTo>
                                <a:pt x="718" y="253"/>
                              </a:lnTo>
                              <a:lnTo>
                                <a:pt x="712" y="248"/>
                              </a:lnTo>
                              <a:lnTo>
                                <a:pt x="704" y="246"/>
                              </a:lnTo>
                              <a:lnTo>
                                <a:pt x="699" y="252"/>
                              </a:lnTo>
                              <a:lnTo>
                                <a:pt x="692" y="252"/>
                              </a:lnTo>
                              <a:lnTo>
                                <a:pt x="678" y="247"/>
                              </a:lnTo>
                              <a:lnTo>
                                <a:pt x="673" y="244"/>
                              </a:lnTo>
                              <a:lnTo>
                                <a:pt x="665" y="246"/>
                              </a:lnTo>
                              <a:lnTo>
                                <a:pt x="658" y="246"/>
                              </a:lnTo>
                              <a:lnTo>
                                <a:pt x="653" y="240"/>
                              </a:lnTo>
                              <a:lnTo>
                                <a:pt x="643" y="232"/>
                              </a:lnTo>
                              <a:lnTo>
                                <a:pt x="628" y="232"/>
                              </a:lnTo>
                              <a:lnTo>
                                <a:pt x="608" y="229"/>
                              </a:lnTo>
                              <a:lnTo>
                                <a:pt x="595" y="220"/>
                              </a:lnTo>
                              <a:lnTo>
                                <a:pt x="583" y="213"/>
                              </a:lnTo>
                              <a:lnTo>
                                <a:pt x="579" y="204"/>
                              </a:lnTo>
                              <a:lnTo>
                                <a:pt x="573" y="195"/>
                              </a:lnTo>
                              <a:lnTo>
                                <a:pt x="568" y="191"/>
                              </a:lnTo>
                              <a:lnTo>
                                <a:pt x="564" y="196"/>
                              </a:lnTo>
                              <a:lnTo>
                                <a:pt x="554" y="196"/>
                              </a:lnTo>
                              <a:lnTo>
                                <a:pt x="545" y="197"/>
                              </a:lnTo>
                              <a:lnTo>
                                <a:pt x="538" y="191"/>
                              </a:lnTo>
                              <a:lnTo>
                                <a:pt x="529" y="186"/>
                              </a:lnTo>
                              <a:lnTo>
                                <a:pt x="526" y="180"/>
                              </a:lnTo>
                              <a:lnTo>
                                <a:pt x="529" y="175"/>
                              </a:lnTo>
                              <a:lnTo>
                                <a:pt x="523" y="172"/>
                              </a:lnTo>
                              <a:lnTo>
                                <a:pt x="511" y="167"/>
                              </a:lnTo>
                              <a:lnTo>
                                <a:pt x="513" y="159"/>
                              </a:lnTo>
                              <a:lnTo>
                                <a:pt x="508" y="154"/>
                              </a:lnTo>
                              <a:lnTo>
                                <a:pt x="507" y="148"/>
                              </a:lnTo>
                              <a:lnTo>
                                <a:pt x="519" y="135"/>
                              </a:lnTo>
                              <a:lnTo>
                                <a:pt x="516" y="125"/>
                              </a:lnTo>
                              <a:lnTo>
                                <a:pt x="514" y="118"/>
                              </a:lnTo>
                              <a:lnTo>
                                <a:pt x="519" y="113"/>
                              </a:lnTo>
                              <a:lnTo>
                                <a:pt x="523" y="109"/>
                              </a:lnTo>
                              <a:lnTo>
                                <a:pt x="514" y="107"/>
                              </a:lnTo>
                              <a:lnTo>
                                <a:pt x="509" y="100"/>
                              </a:lnTo>
                              <a:lnTo>
                                <a:pt x="508" y="92"/>
                              </a:lnTo>
                              <a:lnTo>
                                <a:pt x="512" y="82"/>
                              </a:lnTo>
                              <a:lnTo>
                                <a:pt x="524" y="78"/>
                              </a:lnTo>
                              <a:lnTo>
                                <a:pt x="530" y="75"/>
                              </a:lnTo>
                              <a:lnTo>
                                <a:pt x="531" y="67"/>
                              </a:lnTo>
                              <a:lnTo>
                                <a:pt x="525" y="63"/>
                              </a:lnTo>
                              <a:lnTo>
                                <a:pt x="519" y="62"/>
                              </a:lnTo>
                              <a:lnTo>
                                <a:pt x="515" y="58"/>
                              </a:lnTo>
                              <a:lnTo>
                                <a:pt x="526" y="52"/>
                              </a:lnTo>
                              <a:lnTo>
                                <a:pt x="516" y="42"/>
                              </a:lnTo>
                              <a:lnTo>
                                <a:pt x="508" y="38"/>
                              </a:lnTo>
                              <a:lnTo>
                                <a:pt x="499" y="35"/>
                              </a:lnTo>
                              <a:lnTo>
                                <a:pt x="493" y="35"/>
                              </a:lnTo>
                              <a:lnTo>
                                <a:pt x="489" y="29"/>
                              </a:lnTo>
                              <a:lnTo>
                                <a:pt x="483" y="25"/>
                              </a:lnTo>
                              <a:lnTo>
                                <a:pt x="469" y="25"/>
                              </a:lnTo>
                              <a:lnTo>
                                <a:pt x="459" y="25"/>
                              </a:lnTo>
                              <a:lnTo>
                                <a:pt x="446" y="25"/>
                              </a:lnTo>
                              <a:lnTo>
                                <a:pt x="437" y="23"/>
                              </a:lnTo>
                              <a:lnTo>
                                <a:pt x="429" y="20"/>
                              </a:lnTo>
                              <a:lnTo>
                                <a:pt x="422" y="21"/>
                              </a:lnTo>
                              <a:lnTo>
                                <a:pt x="416" y="21"/>
                              </a:lnTo>
                              <a:lnTo>
                                <a:pt x="409" y="21"/>
                              </a:lnTo>
                              <a:lnTo>
                                <a:pt x="397" y="21"/>
                              </a:lnTo>
                              <a:lnTo>
                                <a:pt x="385" y="21"/>
                              </a:lnTo>
                              <a:lnTo>
                                <a:pt x="382" y="26"/>
                              </a:lnTo>
                              <a:lnTo>
                                <a:pt x="374" y="34"/>
                              </a:lnTo>
                              <a:lnTo>
                                <a:pt x="354" y="42"/>
                              </a:lnTo>
                              <a:lnTo>
                                <a:pt x="349" y="38"/>
                              </a:lnTo>
                              <a:lnTo>
                                <a:pt x="344" y="35"/>
                              </a:lnTo>
                              <a:lnTo>
                                <a:pt x="334" y="30"/>
                              </a:lnTo>
                              <a:lnTo>
                                <a:pt x="327" y="33"/>
                              </a:lnTo>
                              <a:lnTo>
                                <a:pt x="318" y="33"/>
                              </a:lnTo>
                              <a:lnTo>
                                <a:pt x="304" y="33"/>
                              </a:lnTo>
                              <a:lnTo>
                                <a:pt x="295" y="37"/>
                              </a:lnTo>
                              <a:lnTo>
                                <a:pt x="283" y="35"/>
                              </a:lnTo>
                              <a:lnTo>
                                <a:pt x="272" y="37"/>
                              </a:lnTo>
                              <a:lnTo>
                                <a:pt x="261" y="30"/>
                              </a:lnTo>
                              <a:lnTo>
                                <a:pt x="250" y="28"/>
                              </a:lnTo>
                              <a:lnTo>
                                <a:pt x="241" y="24"/>
                              </a:lnTo>
                              <a:lnTo>
                                <a:pt x="242" y="12"/>
                              </a:lnTo>
                              <a:lnTo>
                                <a:pt x="235" y="10"/>
                              </a:lnTo>
                              <a:lnTo>
                                <a:pt x="228" y="7"/>
                              </a:lnTo>
                              <a:lnTo>
                                <a:pt x="221" y="7"/>
                              </a:lnTo>
                              <a:lnTo>
                                <a:pt x="214" y="12"/>
                              </a:lnTo>
                              <a:lnTo>
                                <a:pt x="206" y="15"/>
                              </a:lnTo>
                              <a:lnTo>
                                <a:pt x="196" y="16"/>
                              </a:lnTo>
                              <a:lnTo>
                                <a:pt x="189" y="19"/>
                              </a:lnTo>
                              <a:lnTo>
                                <a:pt x="180" y="19"/>
                              </a:lnTo>
                              <a:lnTo>
                                <a:pt x="176" y="15"/>
                              </a:lnTo>
                              <a:lnTo>
                                <a:pt x="170" y="10"/>
                              </a:lnTo>
                              <a:lnTo>
                                <a:pt x="161" y="9"/>
                              </a:lnTo>
                              <a:lnTo>
                                <a:pt x="152" y="9"/>
                              </a:lnTo>
                              <a:lnTo>
                                <a:pt x="148" y="5"/>
                              </a:lnTo>
                              <a:lnTo>
                                <a:pt x="142" y="4"/>
                              </a:lnTo>
                              <a:lnTo>
                                <a:pt x="134" y="0"/>
                              </a:lnTo>
                              <a:lnTo>
                                <a:pt x="127" y="0"/>
                              </a:lnTo>
                              <a:lnTo>
                                <a:pt x="126" y="6"/>
                              </a:lnTo>
                              <a:lnTo>
                                <a:pt x="119" y="9"/>
                              </a:lnTo>
                              <a:lnTo>
                                <a:pt x="111" y="15"/>
                              </a:lnTo>
                              <a:lnTo>
                                <a:pt x="103" y="25"/>
                              </a:lnTo>
                              <a:lnTo>
                                <a:pt x="101" y="31"/>
                              </a:lnTo>
                              <a:lnTo>
                                <a:pt x="94" y="34"/>
                              </a:lnTo>
                              <a:lnTo>
                                <a:pt x="83" y="34"/>
                              </a:lnTo>
                              <a:lnTo>
                                <a:pt x="74" y="30"/>
                              </a:lnTo>
                              <a:lnTo>
                                <a:pt x="65" y="30"/>
                              </a:lnTo>
                              <a:lnTo>
                                <a:pt x="56" y="33"/>
                              </a:ln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32" name="Freeform 13"/>
                        <p:cNvSpPr>
                          <a:spLocks noChangeArrowheads="1"/>
                        </p:cNvSpPr>
                        <p:nvPr/>
                      </p:nvSpPr>
                      <p:spPr bwMode="auto">
                        <a:xfrm>
                          <a:off x="936544" y="1320332"/>
                          <a:ext cx="1099099" cy="790288"/>
                        </a:xfrm>
                        <a:custGeom>
                          <a:avLst/>
                          <a:gdLst>
                            <a:gd name="T0" fmla="*/ 2147483647 w 593"/>
                            <a:gd name="T1" fmla="*/ 0 h 371"/>
                            <a:gd name="T2" fmla="*/ 2147483647 w 593"/>
                            <a:gd name="T3" fmla="*/ 0 h 371"/>
                            <a:gd name="T4" fmla="*/ 2147483647 w 593"/>
                            <a:gd name="T5" fmla="*/ 2147483647 h 371"/>
                            <a:gd name="T6" fmla="*/ 2147483647 w 593"/>
                            <a:gd name="T7" fmla="*/ 2147483647 h 371"/>
                            <a:gd name="T8" fmla="*/ 2147483647 w 593"/>
                            <a:gd name="T9" fmla="*/ 2147483647 h 371"/>
                            <a:gd name="T10" fmla="*/ 2147483647 w 593"/>
                            <a:gd name="T11" fmla="*/ 2147483647 h 371"/>
                            <a:gd name="T12" fmla="*/ 2147483647 w 593"/>
                            <a:gd name="T13" fmla="*/ 2147483647 h 371"/>
                            <a:gd name="T14" fmla="*/ 2147483647 w 593"/>
                            <a:gd name="T15" fmla="*/ 2147483647 h 371"/>
                            <a:gd name="T16" fmla="*/ 2147483647 w 593"/>
                            <a:gd name="T17" fmla="*/ 2147483647 h 371"/>
                            <a:gd name="T18" fmla="*/ 2147483647 w 593"/>
                            <a:gd name="T19" fmla="*/ 2147483647 h 371"/>
                            <a:gd name="T20" fmla="*/ 2147483647 w 593"/>
                            <a:gd name="T21" fmla="*/ 2147483647 h 371"/>
                            <a:gd name="T22" fmla="*/ 2147483647 w 593"/>
                            <a:gd name="T23" fmla="*/ 2147483647 h 371"/>
                            <a:gd name="T24" fmla="*/ 2147483647 w 593"/>
                            <a:gd name="T25" fmla="*/ 2147483647 h 371"/>
                            <a:gd name="T26" fmla="*/ 2147483647 w 593"/>
                            <a:gd name="T27" fmla="*/ 2147483647 h 371"/>
                            <a:gd name="T28" fmla="*/ 2147483647 w 593"/>
                            <a:gd name="T29" fmla="*/ 2147483647 h 371"/>
                            <a:gd name="T30" fmla="*/ 2147483647 w 593"/>
                            <a:gd name="T31" fmla="*/ 2147483647 h 371"/>
                            <a:gd name="T32" fmla="*/ 2147483647 w 593"/>
                            <a:gd name="T33" fmla="*/ 2147483647 h 371"/>
                            <a:gd name="T34" fmla="*/ 2147483647 w 593"/>
                            <a:gd name="T35" fmla="*/ 2147483647 h 371"/>
                            <a:gd name="T36" fmla="*/ 2147483647 w 593"/>
                            <a:gd name="T37" fmla="*/ 2147483647 h 371"/>
                            <a:gd name="T38" fmla="*/ 2147483647 w 593"/>
                            <a:gd name="T39" fmla="*/ 2147483647 h 371"/>
                            <a:gd name="T40" fmla="*/ 2147483647 w 593"/>
                            <a:gd name="T41" fmla="*/ 2147483647 h 371"/>
                            <a:gd name="T42" fmla="*/ 2147483647 w 593"/>
                            <a:gd name="T43" fmla="*/ 2147483647 h 371"/>
                            <a:gd name="T44" fmla="*/ 2147483647 w 593"/>
                            <a:gd name="T45" fmla="*/ 2147483647 h 371"/>
                            <a:gd name="T46" fmla="*/ 2147483647 w 593"/>
                            <a:gd name="T47" fmla="*/ 2147483647 h 371"/>
                            <a:gd name="T48" fmla="*/ 2147483647 w 593"/>
                            <a:gd name="T49" fmla="*/ 2147483647 h 371"/>
                            <a:gd name="T50" fmla="*/ 2147483647 w 593"/>
                            <a:gd name="T51" fmla="*/ 2147483647 h 371"/>
                            <a:gd name="T52" fmla="*/ 2147483647 w 593"/>
                            <a:gd name="T53" fmla="*/ 2147483647 h 371"/>
                            <a:gd name="T54" fmla="*/ 2147483647 w 593"/>
                            <a:gd name="T55" fmla="*/ 2147483647 h 371"/>
                            <a:gd name="T56" fmla="*/ 2147483647 w 593"/>
                            <a:gd name="T57" fmla="*/ 2147483647 h 371"/>
                            <a:gd name="T58" fmla="*/ 2147483647 w 593"/>
                            <a:gd name="T59" fmla="*/ 2147483647 h 371"/>
                            <a:gd name="T60" fmla="*/ 2147483647 w 593"/>
                            <a:gd name="T61" fmla="*/ 2147483647 h 371"/>
                            <a:gd name="T62" fmla="*/ 2147483647 w 593"/>
                            <a:gd name="T63" fmla="*/ 2147483647 h 371"/>
                            <a:gd name="T64" fmla="*/ 2147483647 w 593"/>
                            <a:gd name="T65" fmla="*/ 2147483647 h 371"/>
                            <a:gd name="T66" fmla="*/ 2147483647 w 593"/>
                            <a:gd name="T67" fmla="*/ 2147483647 h 371"/>
                            <a:gd name="T68" fmla="*/ 2147483647 w 593"/>
                            <a:gd name="T69" fmla="*/ 2147483647 h 371"/>
                            <a:gd name="T70" fmla="*/ 2147483647 w 593"/>
                            <a:gd name="T71" fmla="*/ 2147483647 h 371"/>
                            <a:gd name="T72" fmla="*/ 2147483647 w 593"/>
                            <a:gd name="T73" fmla="*/ 2147483647 h 371"/>
                            <a:gd name="T74" fmla="*/ 2147483647 w 593"/>
                            <a:gd name="T75" fmla="*/ 2147483647 h 371"/>
                            <a:gd name="T76" fmla="*/ 2147483647 w 593"/>
                            <a:gd name="T77" fmla="*/ 2147483647 h 371"/>
                            <a:gd name="T78" fmla="*/ 2147483647 w 593"/>
                            <a:gd name="T79" fmla="*/ 2147483647 h 371"/>
                            <a:gd name="T80" fmla="*/ 2147483647 w 593"/>
                            <a:gd name="T81" fmla="*/ 2147483647 h 371"/>
                            <a:gd name="T82" fmla="*/ 2147483647 w 593"/>
                            <a:gd name="T83" fmla="*/ 2147483647 h 371"/>
                            <a:gd name="T84" fmla="*/ 2147483647 w 593"/>
                            <a:gd name="T85" fmla="*/ 2147483647 h 371"/>
                            <a:gd name="T86" fmla="*/ 2147483647 w 593"/>
                            <a:gd name="T87" fmla="*/ 2147483647 h 371"/>
                            <a:gd name="T88" fmla="*/ 2147483647 w 593"/>
                            <a:gd name="T89" fmla="*/ 2147483647 h 371"/>
                            <a:gd name="T90" fmla="*/ 2147483647 w 593"/>
                            <a:gd name="T91" fmla="*/ 2147483647 h 371"/>
                            <a:gd name="T92" fmla="*/ 2147483647 w 593"/>
                            <a:gd name="T93" fmla="*/ 2147483647 h 371"/>
                            <a:gd name="T94" fmla="*/ 2147483647 w 593"/>
                            <a:gd name="T95" fmla="*/ 2147483647 h 371"/>
                            <a:gd name="T96" fmla="*/ 2147483647 w 593"/>
                            <a:gd name="T97" fmla="*/ 2147483647 h 371"/>
                            <a:gd name="T98" fmla="*/ 2147483647 w 593"/>
                            <a:gd name="T99" fmla="*/ 2147483647 h 371"/>
                            <a:gd name="T100" fmla="*/ 2147483647 w 593"/>
                            <a:gd name="T101" fmla="*/ 2147483647 h 371"/>
                            <a:gd name="T102" fmla="*/ 2147483647 w 593"/>
                            <a:gd name="T103" fmla="*/ 2147483647 h 371"/>
                            <a:gd name="T104" fmla="*/ 2147483647 w 593"/>
                            <a:gd name="T105" fmla="*/ 2147483647 h 371"/>
                            <a:gd name="T106" fmla="*/ 2147483647 w 593"/>
                            <a:gd name="T107" fmla="*/ 2147483647 h 371"/>
                            <a:gd name="T108" fmla="*/ 2147483647 w 593"/>
                            <a:gd name="T109" fmla="*/ 2147483647 h 371"/>
                            <a:gd name="T110" fmla="*/ 2147483647 w 593"/>
                            <a:gd name="T111" fmla="*/ 2147483647 h 371"/>
                            <a:gd name="T112" fmla="*/ 2147483647 w 593"/>
                            <a:gd name="T113" fmla="*/ 2147483647 h 371"/>
                            <a:gd name="T114" fmla="*/ 2147483647 w 593"/>
                            <a:gd name="T115" fmla="*/ 2147483647 h 371"/>
                            <a:gd name="T116" fmla="*/ 2147483647 w 593"/>
                            <a:gd name="T117" fmla="*/ 2147483647 h 371"/>
                            <a:gd name="T118" fmla="*/ 2147483647 w 593"/>
                            <a:gd name="T119" fmla="*/ 2147483647 h 371"/>
                            <a:gd name="T120" fmla="*/ 2147483647 w 593"/>
                            <a:gd name="T121" fmla="*/ 2147483647 h 371"/>
                            <a:gd name="T122" fmla="*/ 2147483647 w 593"/>
                            <a:gd name="T123" fmla="*/ 2147483647 h 371"/>
                            <a:gd name="T124" fmla="*/ 2147483647 w 593"/>
                            <a:gd name="T125" fmla="*/ 2147483647 h 37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93"/>
                            <a:gd name="T190" fmla="*/ 0 h 371"/>
                            <a:gd name="T191" fmla="*/ 593 w 593"/>
                            <a:gd name="T192" fmla="*/ 371 h 37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93" h="371">
                              <a:moveTo>
                                <a:pt x="186" y="1"/>
                              </a:moveTo>
                              <a:lnTo>
                                <a:pt x="198" y="1"/>
                              </a:lnTo>
                              <a:lnTo>
                                <a:pt x="216" y="0"/>
                              </a:lnTo>
                              <a:lnTo>
                                <a:pt x="224" y="3"/>
                              </a:lnTo>
                              <a:lnTo>
                                <a:pt x="235" y="4"/>
                              </a:lnTo>
                              <a:lnTo>
                                <a:pt x="245" y="0"/>
                              </a:lnTo>
                              <a:lnTo>
                                <a:pt x="254" y="5"/>
                              </a:lnTo>
                              <a:lnTo>
                                <a:pt x="263" y="8"/>
                              </a:lnTo>
                              <a:lnTo>
                                <a:pt x="271" y="12"/>
                              </a:lnTo>
                              <a:lnTo>
                                <a:pt x="284" y="14"/>
                              </a:lnTo>
                              <a:lnTo>
                                <a:pt x="290" y="20"/>
                              </a:lnTo>
                              <a:lnTo>
                                <a:pt x="300" y="27"/>
                              </a:lnTo>
                              <a:lnTo>
                                <a:pt x="305" y="36"/>
                              </a:lnTo>
                              <a:lnTo>
                                <a:pt x="316" y="44"/>
                              </a:lnTo>
                              <a:lnTo>
                                <a:pt x="326" y="46"/>
                              </a:lnTo>
                              <a:lnTo>
                                <a:pt x="332" y="57"/>
                              </a:lnTo>
                              <a:lnTo>
                                <a:pt x="340" y="60"/>
                              </a:lnTo>
                              <a:lnTo>
                                <a:pt x="348" y="61"/>
                              </a:lnTo>
                              <a:lnTo>
                                <a:pt x="351" y="47"/>
                              </a:lnTo>
                              <a:lnTo>
                                <a:pt x="352" y="29"/>
                              </a:lnTo>
                              <a:lnTo>
                                <a:pt x="360" y="22"/>
                              </a:lnTo>
                              <a:lnTo>
                                <a:pt x="369" y="27"/>
                              </a:lnTo>
                              <a:lnTo>
                                <a:pt x="380" y="34"/>
                              </a:lnTo>
                              <a:lnTo>
                                <a:pt x="397" y="44"/>
                              </a:lnTo>
                              <a:lnTo>
                                <a:pt x="408" y="39"/>
                              </a:lnTo>
                              <a:lnTo>
                                <a:pt x="422" y="38"/>
                              </a:lnTo>
                              <a:lnTo>
                                <a:pt x="434" y="42"/>
                              </a:lnTo>
                              <a:lnTo>
                                <a:pt x="440" y="51"/>
                              </a:lnTo>
                              <a:lnTo>
                                <a:pt x="454" y="60"/>
                              </a:lnTo>
                              <a:lnTo>
                                <a:pt x="457" y="69"/>
                              </a:lnTo>
                              <a:lnTo>
                                <a:pt x="467" y="74"/>
                              </a:lnTo>
                              <a:lnTo>
                                <a:pt x="484" y="81"/>
                              </a:lnTo>
                              <a:lnTo>
                                <a:pt x="499" y="80"/>
                              </a:lnTo>
                              <a:lnTo>
                                <a:pt x="499" y="88"/>
                              </a:lnTo>
                              <a:lnTo>
                                <a:pt x="516" y="96"/>
                              </a:lnTo>
                              <a:lnTo>
                                <a:pt x="526" y="107"/>
                              </a:lnTo>
                              <a:lnTo>
                                <a:pt x="538" y="114"/>
                              </a:lnTo>
                              <a:lnTo>
                                <a:pt x="549" y="120"/>
                              </a:lnTo>
                              <a:lnTo>
                                <a:pt x="557" y="112"/>
                              </a:lnTo>
                              <a:lnTo>
                                <a:pt x="557" y="123"/>
                              </a:lnTo>
                              <a:lnTo>
                                <a:pt x="576" y="136"/>
                              </a:lnTo>
                              <a:lnTo>
                                <a:pt x="574" y="145"/>
                              </a:lnTo>
                              <a:lnTo>
                                <a:pt x="579" y="156"/>
                              </a:lnTo>
                              <a:lnTo>
                                <a:pt x="581" y="164"/>
                              </a:lnTo>
                              <a:lnTo>
                                <a:pt x="582" y="176"/>
                              </a:lnTo>
                              <a:lnTo>
                                <a:pt x="593" y="183"/>
                              </a:lnTo>
                              <a:lnTo>
                                <a:pt x="588" y="191"/>
                              </a:lnTo>
                              <a:lnTo>
                                <a:pt x="588" y="200"/>
                              </a:lnTo>
                              <a:lnTo>
                                <a:pt x="577" y="203"/>
                              </a:lnTo>
                              <a:lnTo>
                                <a:pt x="577" y="217"/>
                              </a:lnTo>
                              <a:lnTo>
                                <a:pt x="568" y="215"/>
                              </a:lnTo>
                              <a:lnTo>
                                <a:pt x="557" y="219"/>
                              </a:lnTo>
                              <a:lnTo>
                                <a:pt x="558" y="228"/>
                              </a:lnTo>
                              <a:lnTo>
                                <a:pt x="556" y="238"/>
                              </a:lnTo>
                              <a:lnTo>
                                <a:pt x="547" y="238"/>
                              </a:lnTo>
                              <a:lnTo>
                                <a:pt x="539" y="247"/>
                              </a:lnTo>
                              <a:lnTo>
                                <a:pt x="533" y="253"/>
                              </a:lnTo>
                              <a:lnTo>
                                <a:pt x="542" y="260"/>
                              </a:lnTo>
                              <a:lnTo>
                                <a:pt x="549" y="265"/>
                              </a:lnTo>
                              <a:lnTo>
                                <a:pt x="542" y="272"/>
                              </a:lnTo>
                              <a:lnTo>
                                <a:pt x="537" y="279"/>
                              </a:lnTo>
                              <a:lnTo>
                                <a:pt x="526" y="280"/>
                              </a:lnTo>
                              <a:lnTo>
                                <a:pt x="514" y="275"/>
                              </a:lnTo>
                              <a:lnTo>
                                <a:pt x="504" y="269"/>
                              </a:lnTo>
                              <a:lnTo>
                                <a:pt x="491" y="265"/>
                              </a:lnTo>
                              <a:lnTo>
                                <a:pt x="489" y="275"/>
                              </a:lnTo>
                              <a:lnTo>
                                <a:pt x="495" y="289"/>
                              </a:lnTo>
                              <a:lnTo>
                                <a:pt x="504" y="293"/>
                              </a:lnTo>
                              <a:lnTo>
                                <a:pt x="509" y="302"/>
                              </a:lnTo>
                              <a:lnTo>
                                <a:pt x="518" y="299"/>
                              </a:lnTo>
                              <a:lnTo>
                                <a:pt x="522" y="308"/>
                              </a:lnTo>
                              <a:lnTo>
                                <a:pt x="531" y="310"/>
                              </a:lnTo>
                              <a:lnTo>
                                <a:pt x="522" y="318"/>
                              </a:lnTo>
                              <a:lnTo>
                                <a:pt x="521" y="328"/>
                              </a:lnTo>
                              <a:lnTo>
                                <a:pt x="512" y="321"/>
                              </a:lnTo>
                              <a:lnTo>
                                <a:pt x="499" y="324"/>
                              </a:lnTo>
                              <a:lnTo>
                                <a:pt x="500" y="337"/>
                              </a:lnTo>
                              <a:lnTo>
                                <a:pt x="500" y="346"/>
                              </a:lnTo>
                              <a:lnTo>
                                <a:pt x="486" y="348"/>
                              </a:lnTo>
                              <a:lnTo>
                                <a:pt x="477" y="347"/>
                              </a:lnTo>
                              <a:lnTo>
                                <a:pt x="474" y="355"/>
                              </a:lnTo>
                              <a:lnTo>
                                <a:pt x="466" y="356"/>
                              </a:lnTo>
                              <a:lnTo>
                                <a:pt x="465" y="346"/>
                              </a:lnTo>
                              <a:lnTo>
                                <a:pt x="456" y="338"/>
                              </a:lnTo>
                              <a:lnTo>
                                <a:pt x="456" y="347"/>
                              </a:lnTo>
                              <a:lnTo>
                                <a:pt x="449" y="342"/>
                              </a:lnTo>
                              <a:lnTo>
                                <a:pt x="447" y="331"/>
                              </a:lnTo>
                              <a:lnTo>
                                <a:pt x="439" y="323"/>
                              </a:lnTo>
                              <a:lnTo>
                                <a:pt x="437" y="335"/>
                              </a:lnTo>
                              <a:lnTo>
                                <a:pt x="425" y="335"/>
                              </a:lnTo>
                              <a:lnTo>
                                <a:pt x="418" y="328"/>
                              </a:lnTo>
                              <a:lnTo>
                                <a:pt x="410" y="328"/>
                              </a:lnTo>
                              <a:lnTo>
                                <a:pt x="404" y="319"/>
                              </a:lnTo>
                              <a:lnTo>
                                <a:pt x="393" y="316"/>
                              </a:lnTo>
                              <a:lnTo>
                                <a:pt x="392" y="303"/>
                              </a:lnTo>
                              <a:lnTo>
                                <a:pt x="389" y="295"/>
                              </a:lnTo>
                              <a:lnTo>
                                <a:pt x="385" y="281"/>
                              </a:lnTo>
                              <a:lnTo>
                                <a:pt x="369" y="275"/>
                              </a:lnTo>
                              <a:lnTo>
                                <a:pt x="358" y="274"/>
                              </a:lnTo>
                              <a:lnTo>
                                <a:pt x="345" y="274"/>
                              </a:lnTo>
                              <a:lnTo>
                                <a:pt x="335" y="274"/>
                              </a:lnTo>
                              <a:lnTo>
                                <a:pt x="336" y="288"/>
                              </a:lnTo>
                              <a:lnTo>
                                <a:pt x="342" y="295"/>
                              </a:lnTo>
                              <a:lnTo>
                                <a:pt x="350" y="299"/>
                              </a:lnTo>
                              <a:lnTo>
                                <a:pt x="340" y="304"/>
                              </a:lnTo>
                              <a:lnTo>
                                <a:pt x="336" y="317"/>
                              </a:lnTo>
                              <a:lnTo>
                                <a:pt x="325" y="321"/>
                              </a:lnTo>
                              <a:lnTo>
                                <a:pt x="333" y="329"/>
                              </a:lnTo>
                              <a:lnTo>
                                <a:pt x="340" y="337"/>
                              </a:lnTo>
                              <a:lnTo>
                                <a:pt x="327" y="337"/>
                              </a:lnTo>
                              <a:lnTo>
                                <a:pt x="325" y="345"/>
                              </a:lnTo>
                              <a:lnTo>
                                <a:pt x="320" y="356"/>
                              </a:lnTo>
                              <a:lnTo>
                                <a:pt x="308" y="359"/>
                              </a:lnTo>
                              <a:lnTo>
                                <a:pt x="300" y="356"/>
                              </a:lnTo>
                              <a:lnTo>
                                <a:pt x="293" y="362"/>
                              </a:lnTo>
                              <a:lnTo>
                                <a:pt x="284" y="370"/>
                              </a:lnTo>
                              <a:lnTo>
                                <a:pt x="275" y="369"/>
                              </a:lnTo>
                              <a:lnTo>
                                <a:pt x="268" y="360"/>
                              </a:lnTo>
                              <a:lnTo>
                                <a:pt x="266" y="371"/>
                              </a:lnTo>
                              <a:lnTo>
                                <a:pt x="258" y="366"/>
                              </a:lnTo>
                              <a:lnTo>
                                <a:pt x="249" y="365"/>
                              </a:lnTo>
                              <a:lnTo>
                                <a:pt x="239" y="361"/>
                              </a:lnTo>
                              <a:lnTo>
                                <a:pt x="231" y="360"/>
                              </a:lnTo>
                              <a:lnTo>
                                <a:pt x="233" y="347"/>
                              </a:lnTo>
                              <a:lnTo>
                                <a:pt x="224" y="337"/>
                              </a:lnTo>
                              <a:lnTo>
                                <a:pt x="216" y="333"/>
                              </a:lnTo>
                              <a:lnTo>
                                <a:pt x="212" y="324"/>
                              </a:lnTo>
                              <a:lnTo>
                                <a:pt x="203" y="318"/>
                              </a:lnTo>
                              <a:lnTo>
                                <a:pt x="193" y="318"/>
                              </a:lnTo>
                              <a:lnTo>
                                <a:pt x="184" y="322"/>
                              </a:lnTo>
                              <a:lnTo>
                                <a:pt x="172" y="318"/>
                              </a:lnTo>
                              <a:lnTo>
                                <a:pt x="151" y="314"/>
                              </a:lnTo>
                              <a:lnTo>
                                <a:pt x="140" y="304"/>
                              </a:lnTo>
                              <a:lnTo>
                                <a:pt x="124" y="302"/>
                              </a:lnTo>
                              <a:lnTo>
                                <a:pt x="116" y="302"/>
                              </a:lnTo>
                              <a:lnTo>
                                <a:pt x="104" y="295"/>
                              </a:lnTo>
                              <a:lnTo>
                                <a:pt x="90" y="291"/>
                              </a:lnTo>
                              <a:lnTo>
                                <a:pt x="80" y="286"/>
                              </a:lnTo>
                              <a:lnTo>
                                <a:pt x="73" y="279"/>
                              </a:lnTo>
                              <a:lnTo>
                                <a:pt x="68" y="269"/>
                              </a:lnTo>
                              <a:lnTo>
                                <a:pt x="60" y="262"/>
                              </a:lnTo>
                              <a:lnTo>
                                <a:pt x="47" y="266"/>
                              </a:lnTo>
                              <a:lnTo>
                                <a:pt x="38" y="266"/>
                              </a:lnTo>
                              <a:lnTo>
                                <a:pt x="27" y="260"/>
                              </a:lnTo>
                              <a:lnTo>
                                <a:pt x="18" y="255"/>
                              </a:lnTo>
                              <a:lnTo>
                                <a:pt x="19" y="245"/>
                              </a:lnTo>
                              <a:lnTo>
                                <a:pt x="9" y="240"/>
                              </a:lnTo>
                              <a:lnTo>
                                <a:pt x="3" y="229"/>
                              </a:lnTo>
                              <a:lnTo>
                                <a:pt x="0" y="221"/>
                              </a:lnTo>
                              <a:lnTo>
                                <a:pt x="7" y="213"/>
                              </a:lnTo>
                              <a:lnTo>
                                <a:pt x="15" y="205"/>
                              </a:lnTo>
                              <a:lnTo>
                                <a:pt x="8" y="193"/>
                              </a:lnTo>
                              <a:lnTo>
                                <a:pt x="8" y="185"/>
                              </a:lnTo>
                              <a:lnTo>
                                <a:pt x="17" y="177"/>
                              </a:lnTo>
                              <a:lnTo>
                                <a:pt x="2" y="172"/>
                              </a:lnTo>
                              <a:lnTo>
                                <a:pt x="3" y="153"/>
                              </a:lnTo>
                              <a:lnTo>
                                <a:pt x="15" y="147"/>
                              </a:lnTo>
                              <a:lnTo>
                                <a:pt x="27" y="141"/>
                              </a:lnTo>
                              <a:lnTo>
                                <a:pt x="19" y="133"/>
                              </a:lnTo>
                              <a:lnTo>
                                <a:pt x="8" y="129"/>
                              </a:lnTo>
                              <a:lnTo>
                                <a:pt x="18" y="123"/>
                              </a:lnTo>
                              <a:lnTo>
                                <a:pt x="30" y="120"/>
                              </a:lnTo>
                              <a:lnTo>
                                <a:pt x="42" y="120"/>
                              </a:lnTo>
                              <a:lnTo>
                                <a:pt x="57" y="124"/>
                              </a:lnTo>
                              <a:lnTo>
                                <a:pt x="67" y="124"/>
                              </a:lnTo>
                              <a:lnTo>
                                <a:pt x="75" y="132"/>
                              </a:lnTo>
                              <a:lnTo>
                                <a:pt x="84" y="132"/>
                              </a:lnTo>
                              <a:lnTo>
                                <a:pt x="86" y="122"/>
                              </a:lnTo>
                              <a:lnTo>
                                <a:pt x="85" y="113"/>
                              </a:lnTo>
                              <a:lnTo>
                                <a:pt x="72" y="108"/>
                              </a:lnTo>
                              <a:lnTo>
                                <a:pt x="74" y="96"/>
                              </a:lnTo>
                              <a:lnTo>
                                <a:pt x="89" y="91"/>
                              </a:lnTo>
                              <a:lnTo>
                                <a:pt x="97" y="91"/>
                              </a:lnTo>
                              <a:lnTo>
                                <a:pt x="99" y="81"/>
                              </a:lnTo>
                              <a:lnTo>
                                <a:pt x="96" y="69"/>
                              </a:lnTo>
                              <a:lnTo>
                                <a:pt x="86" y="67"/>
                              </a:lnTo>
                              <a:lnTo>
                                <a:pt x="86" y="58"/>
                              </a:lnTo>
                              <a:lnTo>
                                <a:pt x="70" y="48"/>
                              </a:lnTo>
                              <a:lnTo>
                                <a:pt x="73" y="39"/>
                              </a:lnTo>
                              <a:lnTo>
                                <a:pt x="70" y="25"/>
                              </a:lnTo>
                              <a:lnTo>
                                <a:pt x="67" y="15"/>
                              </a:lnTo>
                              <a:lnTo>
                                <a:pt x="79" y="19"/>
                              </a:lnTo>
                              <a:lnTo>
                                <a:pt x="86" y="13"/>
                              </a:lnTo>
                              <a:lnTo>
                                <a:pt x="94" y="12"/>
                              </a:lnTo>
                              <a:lnTo>
                                <a:pt x="102" y="12"/>
                              </a:lnTo>
                              <a:lnTo>
                                <a:pt x="110" y="13"/>
                              </a:lnTo>
                              <a:lnTo>
                                <a:pt x="125" y="10"/>
                              </a:lnTo>
                              <a:lnTo>
                                <a:pt x="140" y="8"/>
                              </a:lnTo>
                              <a:lnTo>
                                <a:pt x="153" y="6"/>
                              </a:lnTo>
                              <a:lnTo>
                                <a:pt x="163" y="3"/>
                              </a:lnTo>
                              <a:lnTo>
                                <a:pt x="186" y="1"/>
                              </a:ln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33" name="Freeform 15"/>
                        <p:cNvSpPr>
                          <a:spLocks noChangeArrowheads="1"/>
                        </p:cNvSpPr>
                        <p:nvPr/>
                      </p:nvSpPr>
                      <p:spPr bwMode="auto">
                        <a:xfrm>
                          <a:off x="1279205" y="1012290"/>
                          <a:ext cx="1206238" cy="1074961"/>
                        </a:xfrm>
                        <a:custGeom>
                          <a:avLst/>
                          <a:gdLst>
                            <a:gd name="T0" fmla="*/ 2147483647 w 651"/>
                            <a:gd name="T1" fmla="*/ 2147483647 h 505"/>
                            <a:gd name="T2" fmla="*/ 2147483647 w 651"/>
                            <a:gd name="T3" fmla="*/ 2147483647 h 505"/>
                            <a:gd name="T4" fmla="*/ 2147483647 w 651"/>
                            <a:gd name="T5" fmla="*/ 2147483647 h 505"/>
                            <a:gd name="T6" fmla="*/ 2147483647 w 651"/>
                            <a:gd name="T7" fmla="*/ 2147483647 h 505"/>
                            <a:gd name="T8" fmla="*/ 2147483647 w 651"/>
                            <a:gd name="T9" fmla="*/ 0 h 505"/>
                            <a:gd name="T10" fmla="*/ 2147483647 w 651"/>
                            <a:gd name="T11" fmla="*/ 2147483647 h 505"/>
                            <a:gd name="T12" fmla="*/ 2147483647 w 651"/>
                            <a:gd name="T13" fmla="*/ 2147483647 h 505"/>
                            <a:gd name="T14" fmla="*/ 2147483647 w 651"/>
                            <a:gd name="T15" fmla="*/ 2147483647 h 505"/>
                            <a:gd name="T16" fmla="*/ 2147483647 w 651"/>
                            <a:gd name="T17" fmla="*/ 2147483647 h 505"/>
                            <a:gd name="T18" fmla="*/ 2147483647 w 651"/>
                            <a:gd name="T19" fmla="*/ 2147483647 h 505"/>
                            <a:gd name="T20" fmla="*/ 2147483647 w 651"/>
                            <a:gd name="T21" fmla="*/ 2147483647 h 505"/>
                            <a:gd name="T22" fmla="*/ 2147483647 w 651"/>
                            <a:gd name="T23" fmla="*/ 2147483647 h 505"/>
                            <a:gd name="T24" fmla="*/ 2147483647 w 651"/>
                            <a:gd name="T25" fmla="*/ 2147483647 h 505"/>
                            <a:gd name="T26" fmla="*/ 2147483647 w 651"/>
                            <a:gd name="T27" fmla="*/ 2147483647 h 505"/>
                            <a:gd name="T28" fmla="*/ 2147483647 w 651"/>
                            <a:gd name="T29" fmla="*/ 2147483647 h 505"/>
                            <a:gd name="T30" fmla="*/ 2147483647 w 651"/>
                            <a:gd name="T31" fmla="*/ 2147483647 h 505"/>
                            <a:gd name="T32" fmla="*/ 2147483647 w 651"/>
                            <a:gd name="T33" fmla="*/ 2147483647 h 505"/>
                            <a:gd name="T34" fmla="*/ 2147483647 w 651"/>
                            <a:gd name="T35" fmla="*/ 2147483647 h 505"/>
                            <a:gd name="T36" fmla="*/ 2147483647 w 651"/>
                            <a:gd name="T37" fmla="*/ 2147483647 h 505"/>
                            <a:gd name="T38" fmla="*/ 2147483647 w 651"/>
                            <a:gd name="T39" fmla="*/ 2147483647 h 505"/>
                            <a:gd name="T40" fmla="*/ 2147483647 w 651"/>
                            <a:gd name="T41" fmla="*/ 2147483647 h 505"/>
                            <a:gd name="T42" fmla="*/ 2147483647 w 651"/>
                            <a:gd name="T43" fmla="*/ 2147483647 h 505"/>
                            <a:gd name="T44" fmla="*/ 2147483647 w 651"/>
                            <a:gd name="T45" fmla="*/ 2147483647 h 505"/>
                            <a:gd name="T46" fmla="*/ 2147483647 w 651"/>
                            <a:gd name="T47" fmla="*/ 2147483647 h 505"/>
                            <a:gd name="T48" fmla="*/ 2147483647 w 651"/>
                            <a:gd name="T49" fmla="*/ 2147483647 h 505"/>
                            <a:gd name="T50" fmla="*/ 2147483647 w 651"/>
                            <a:gd name="T51" fmla="*/ 2147483647 h 505"/>
                            <a:gd name="T52" fmla="*/ 2147483647 w 651"/>
                            <a:gd name="T53" fmla="*/ 2147483647 h 505"/>
                            <a:gd name="T54" fmla="*/ 2147483647 w 651"/>
                            <a:gd name="T55" fmla="*/ 2147483647 h 505"/>
                            <a:gd name="T56" fmla="*/ 2147483647 w 651"/>
                            <a:gd name="T57" fmla="*/ 2147483647 h 505"/>
                            <a:gd name="T58" fmla="*/ 2147483647 w 651"/>
                            <a:gd name="T59" fmla="*/ 2147483647 h 505"/>
                            <a:gd name="T60" fmla="*/ 2147483647 w 651"/>
                            <a:gd name="T61" fmla="*/ 2147483647 h 505"/>
                            <a:gd name="T62" fmla="*/ 2147483647 w 651"/>
                            <a:gd name="T63" fmla="*/ 2147483647 h 505"/>
                            <a:gd name="T64" fmla="*/ 2147483647 w 651"/>
                            <a:gd name="T65" fmla="*/ 2147483647 h 505"/>
                            <a:gd name="T66" fmla="*/ 2147483647 w 651"/>
                            <a:gd name="T67" fmla="*/ 2147483647 h 505"/>
                            <a:gd name="T68" fmla="*/ 2147483647 w 651"/>
                            <a:gd name="T69" fmla="*/ 2147483647 h 505"/>
                            <a:gd name="T70" fmla="*/ 2147483647 w 651"/>
                            <a:gd name="T71" fmla="*/ 2147483647 h 505"/>
                            <a:gd name="T72" fmla="*/ 2147483647 w 651"/>
                            <a:gd name="T73" fmla="*/ 2147483647 h 505"/>
                            <a:gd name="T74" fmla="*/ 2147483647 w 651"/>
                            <a:gd name="T75" fmla="*/ 2147483647 h 505"/>
                            <a:gd name="T76" fmla="*/ 2147483647 w 651"/>
                            <a:gd name="T77" fmla="*/ 2147483647 h 505"/>
                            <a:gd name="T78" fmla="*/ 2147483647 w 651"/>
                            <a:gd name="T79" fmla="*/ 2147483647 h 505"/>
                            <a:gd name="T80" fmla="*/ 2147483647 w 651"/>
                            <a:gd name="T81" fmla="*/ 2147483647 h 505"/>
                            <a:gd name="T82" fmla="*/ 2147483647 w 651"/>
                            <a:gd name="T83" fmla="*/ 2147483647 h 505"/>
                            <a:gd name="T84" fmla="*/ 2147483647 w 651"/>
                            <a:gd name="T85" fmla="*/ 2147483647 h 505"/>
                            <a:gd name="T86" fmla="*/ 2147483647 w 651"/>
                            <a:gd name="T87" fmla="*/ 2147483647 h 505"/>
                            <a:gd name="T88" fmla="*/ 2147483647 w 651"/>
                            <a:gd name="T89" fmla="*/ 2147483647 h 505"/>
                            <a:gd name="T90" fmla="*/ 2147483647 w 651"/>
                            <a:gd name="T91" fmla="*/ 2147483647 h 505"/>
                            <a:gd name="T92" fmla="*/ 2147483647 w 651"/>
                            <a:gd name="T93" fmla="*/ 2147483647 h 505"/>
                            <a:gd name="T94" fmla="*/ 2147483647 w 651"/>
                            <a:gd name="T95" fmla="*/ 2147483647 h 505"/>
                            <a:gd name="T96" fmla="*/ 2147483647 w 651"/>
                            <a:gd name="T97" fmla="*/ 2147483647 h 505"/>
                            <a:gd name="T98" fmla="*/ 2147483647 w 651"/>
                            <a:gd name="T99" fmla="*/ 2147483647 h 505"/>
                            <a:gd name="T100" fmla="*/ 2147483647 w 651"/>
                            <a:gd name="T101" fmla="*/ 2147483647 h 505"/>
                            <a:gd name="T102" fmla="*/ 2147483647 w 651"/>
                            <a:gd name="T103" fmla="*/ 2147483647 h 505"/>
                            <a:gd name="T104" fmla="*/ 2147483647 w 651"/>
                            <a:gd name="T105" fmla="*/ 2147483647 h 505"/>
                            <a:gd name="T106" fmla="*/ 2147483647 w 651"/>
                            <a:gd name="T107" fmla="*/ 2147483647 h 50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51"/>
                            <a:gd name="T163" fmla="*/ 0 h 505"/>
                            <a:gd name="T164" fmla="*/ 651 w 651"/>
                            <a:gd name="T165" fmla="*/ 505 h 50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51" h="505">
                              <a:moveTo>
                                <a:pt x="0" y="146"/>
                              </a:moveTo>
                              <a:lnTo>
                                <a:pt x="5" y="139"/>
                              </a:lnTo>
                              <a:lnTo>
                                <a:pt x="2" y="112"/>
                              </a:lnTo>
                              <a:lnTo>
                                <a:pt x="5" y="105"/>
                              </a:lnTo>
                              <a:lnTo>
                                <a:pt x="11" y="101"/>
                              </a:lnTo>
                              <a:lnTo>
                                <a:pt x="12" y="88"/>
                              </a:lnTo>
                              <a:lnTo>
                                <a:pt x="19" y="86"/>
                              </a:lnTo>
                              <a:lnTo>
                                <a:pt x="25" y="87"/>
                              </a:lnTo>
                              <a:lnTo>
                                <a:pt x="32" y="89"/>
                              </a:lnTo>
                              <a:lnTo>
                                <a:pt x="38" y="89"/>
                              </a:lnTo>
                              <a:lnTo>
                                <a:pt x="48" y="80"/>
                              </a:lnTo>
                              <a:lnTo>
                                <a:pt x="56" y="71"/>
                              </a:lnTo>
                              <a:lnTo>
                                <a:pt x="63" y="62"/>
                              </a:lnTo>
                              <a:lnTo>
                                <a:pt x="81" y="52"/>
                              </a:lnTo>
                              <a:lnTo>
                                <a:pt x="92" y="44"/>
                              </a:lnTo>
                              <a:lnTo>
                                <a:pt x="109" y="39"/>
                              </a:lnTo>
                              <a:lnTo>
                                <a:pt x="129" y="35"/>
                              </a:lnTo>
                              <a:lnTo>
                                <a:pt x="140" y="36"/>
                              </a:lnTo>
                              <a:lnTo>
                                <a:pt x="149" y="36"/>
                              </a:lnTo>
                              <a:lnTo>
                                <a:pt x="154" y="29"/>
                              </a:lnTo>
                              <a:lnTo>
                                <a:pt x="155" y="12"/>
                              </a:lnTo>
                              <a:lnTo>
                                <a:pt x="159" y="4"/>
                              </a:lnTo>
                              <a:lnTo>
                                <a:pt x="166" y="0"/>
                              </a:lnTo>
                              <a:lnTo>
                                <a:pt x="177" y="0"/>
                              </a:lnTo>
                              <a:lnTo>
                                <a:pt x="186" y="0"/>
                              </a:lnTo>
                              <a:lnTo>
                                <a:pt x="201" y="0"/>
                              </a:lnTo>
                              <a:lnTo>
                                <a:pt x="221" y="56"/>
                              </a:lnTo>
                              <a:lnTo>
                                <a:pt x="211" y="64"/>
                              </a:lnTo>
                              <a:lnTo>
                                <a:pt x="219" y="79"/>
                              </a:lnTo>
                              <a:lnTo>
                                <a:pt x="226" y="84"/>
                              </a:lnTo>
                              <a:lnTo>
                                <a:pt x="233" y="91"/>
                              </a:lnTo>
                              <a:lnTo>
                                <a:pt x="238" y="97"/>
                              </a:lnTo>
                              <a:lnTo>
                                <a:pt x="232" y="111"/>
                              </a:lnTo>
                              <a:lnTo>
                                <a:pt x="245" y="112"/>
                              </a:lnTo>
                              <a:lnTo>
                                <a:pt x="252" y="108"/>
                              </a:lnTo>
                              <a:lnTo>
                                <a:pt x="259" y="102"/>
                              </a:lnTo>
                              <a:lnTo>
                                <a:pt x="270" y="99"/>
                              </a:lnTo>
                              <a:lnTo>
                                <a:pt x="283" y="102"/>
                              </a:lnTo>
                              <a:lnTo>
                                <a:pt x="304" y="98"/>
                              </a:lnTo>
                              <a:lnTo>
                                <a:pt x="312" y="111"/>
                              </a:lnTo>
                              <a:lnTo>
                                <a:pt x="303" y="121"/>
                              </a:lnTo>
                              <a:lnTo>
                                <a:pt x="297" y="130"/>
                              </a:lnTo>
                              <a:lnTo>
                                <a:pt x="285" y="137"/>
                              </a:lnTo>
                              <a:lnTo>
                                <a:pt x="275" y="140"/>
                              </a:lnTo>
                              <a:lnTo>
                                <a:pt x="280" y="149"/>
                              </a:lnTo>
                              <a:lnTo>
                                <a:pt x="288" y="149"/>
                              </a:lnTo>
                              <a:lnTo>
                                <a:pt x="295" y="156"/>
                              </a:lnTo>
                              <a:lnTo>
                                <a:pt x="304" y="156"/>
                              </a:lnTo>
                              <a:lnTo>
                                <a:pt x="308" y="167"/>
                              </a:lnTo>
                              <a:lnTo>
                                <a:pt x="317" y="175"/>
                              </a:lnTo>
                              <a:lnTo>
                                <a:pt x="330" y="175"/>
                              </a:lnTo>
                              <a:lnTo>
                                <a:pt x="329" y="193"/>
                              </a:lnTo>
                              <a:lnTo>
                                <a:pt x="340" y="195"/>
                              </a:lnTo>
                              <a:lnTo>
                                <a:pt x="347" y="207"/>
                              </a:lnTo>
                              <a:lnTo>
                                <a:pt x="360" y="211"/>
                              </a:lnTo>
                              <a:lnTo>
                                <a:pt x="371" y="211"/>
                              </a:lnTo>
                              <a:lnTo>
                                <a:pt x="376" y="201"/>
                              </a:lnTo>
                              <a:lnTo>
                                <a:pt x="367" y="189"/>
                              </a:lnTo>
                              <a:lnTo>
                                <a:pt x="395" y="185"/>
                              </a:lnTo>
                              <a:lnTo>
                                <a:pt x="415" y="195"/>
                              </a:lnTo>
                              <a:lnTo>
                                <a:pt x="430" y="190"/>
                              </a:lnTo>
                              <a:lnTo>
                                <a:pt x="438" y="180"/>
                              </a:lnTo>
                              <a:lnTo>
                                <a:pt x="456" y="179"/>
                              </a:lnTo>
                              <a:lnTo>
                                <a:pt x="464" y="180"/>
                              </a:lnTo>
                              <a:lnTo>
                                <a:pt x="460" y="189"/>
                              </a:lnTo>
                              <a:lnTo>
                                <a:pt x="465" y="195"/>
                              </a:lnTo>
                              <a:lnTo>
                                <a:pt x="465" y="206"/>
                              </a:lnTo>
                              <a:lnTo>
                                <a:pt x="458" y="207"/>
                              </a:lnTo>
                              <a:lnTo>
                                <a:pt x="455" y="215"/>
                              </a:lnTo>
                              <a:lnTo>
                                <a:pt x="450" y="222"/>
                              </a:lnTo>
                              <a:lnTo>
                                <a:pt x="438" y="226"/>
                              </a:lnTo>
                              <a:lnTo>
                                <a:pt x="432" y="228"/>
                              </a:lnTo>
                              <a:lnTo>
                                <a:pt x="434" y="235"/>
                              </a:lnTo>
                              <a:lnTo>
                                <a:pt x="427" y="244"/>
                              </a:lnTo>
                              <a:lnTo>
                                <a:pt x="427" y="255"/>
                              </a:lnTo>
                              <a:lnTo>
                                <a:pt x="434" y="258"/>
                              </a:lnTo>
                              <a:lnTo>
                                <a:pt x="441" y="258"/>
                              </a:lnTo>
                              <a:lnTo>
                                <a:pt x="446" y="264"/>
                              </a:lnTo>
                              <a:lnTo>
                                <a:pt x="462" y="276"/>
                              </a:lnTo>
                              <a:lnTo>
                                <a:pt x="482" y="273"/>
                              </a:lnTo>
                              <a:lnTo>
                                <a:pt x="477" y="284"/>
                              </a:lnTo>
                              <a:lnTo>
                                <a:pt x="488" y="291"/>
                              </a:lnTo>
                              <a:lnTo>
                                <a:pt x="500" y="298"/>
                              </a:lnTo>
                              <a:lnTo>
                                <a:pt x="502" y="305"/>
                              </a:lnTo>
                              <a:lnTo>
                                <a:pt x="501" y="313"/>
                              </a:lnTo>
                              <a:lnTo>
                                <a:pt x="506" y="320"/>
                              </a:lnTo>
                              <a:lnTo>
                                <a:pt x="512" y="330"/>
                              </a:lnTo>
                              <a:lnTo>
                                <a:pt x="512" y="337"/>
                              </a:lnTo>
                              <a:lnTo>
                                <a:pt x="505" y="345"/>
                              </a:lnTo>
                              <a:lnTo>
                                <a:pt x="510" y="356"/>
                              </a:lnTo>
                              <a:lnTo>
                                <a:pt x="518" y="366"/>
                              </a:lnTo>
                              <a:lnTo>
                                <a:pt x="526" y="371"/>
                              </a:lnTo>
                              <a:lnTo>
                                <a:pt x="533" y="373"/>
                              </a:lnTo>
                              <a:lnTo>
                                <a:pt x="541" y="378"/>
                              </a:lnTo>
                              <a:lnTo>
                                <a:pt x="548" y="383"/>
                              </a:lnTo>
                              <a:lnTo>
                                <a:pt x="556" y="386"/>
                              </a:lnTo>
                              <a:lnTo>
                                <a:pt x="558" y="376"/>
                              </a:lnTo>
                              <a:lnTo>
                                <a:pt x="556" y="363"/>
                              </a:lnTo>
                              <a:lnTo>
                                <a:pt x="562" y="363"/>
                              </a:lnTo>
                              <a:lnTo>
                                <a:pt x="571" y="357"/>
                              </a:lnTo>
                              <a:lnTo>
                                <a:pt x="575" y="349"/>
                              </a:lnTo>
                              <a:lnTo>
                                <a:pt x="575" y="341"/>
                              </a:lnTo>
                              <a:lnTo>
                                <a:pt x="568" y="335"/>
                              </a:lnTo>
                              <a:lnTo>
                                <a:pt x="559" y="335"/>
                              </a:lnTo>
                              <a:lnTo>
                                <a:pt x="557" y="327"/>
                              </a:lnTo>
                              <a:lnTo>
                                <a:pt x="558" y="315"/>
                              </a:lnTo>
                              <a:lnTo>
                                <a:pt x="563" y="310"/>
                              </a:lnTo>
                              <a:lnTo>
                                <a:pt x="561" y="302"/>
                              </a:lnTo>
                              <a:lnTo>
                                <a:pt x="560" y="295"/>
                              </a:lnTo>
                              <a:lnTo>
                                <a:pt x="571" y="294"/>
                              </a:lnTo>
                              <a:lnTo>
                                <a:pt x="587" y="294"/>
                              </a:lnTo>
                              <a:lnTo>
                                <a:pt x="594" y="293"/>
                              </a:lnTo>
                              <a:lnTo>
                                <a:pt x="592" y="305"/>
                              </a:lnTo>
                              <a:lnTo>
                                <a:pt x="599" y="306"/>
                              </a:lnTo>
                              <a:lnTo>
                                <a:pt x="612" y="310"/>
                              </a:lnTo>
                              <a:lnTo>
                                <a:pt x="621" y="317"/>
                              </a:lnTo>
                              <a:lnTo>
                                <a:pt x="626" y="323"/>
                              </a:lnTo>
                              <a:lnTo>
                                <a:pt x="633" y="322"/>
                              </a:lnTo>
                              <a:lnTo>
                                <a:pt x="640" y="329"/>
                              </a:lnTo>
                              <a:lnTo>
                                <a:pt x="648" y="327"/>
                              </a:lnTo>
                              <a:lnTo>
                                <a:pt x="648" y="339"/>
                              </a:lnTo>
                              <a:lnTo>
                                <a:pt x="651" y="349"/>
                              </a:lnTo>
                              <a:lnTo>
                                <a:pt x="643" y="353"/>
                              </a:lnTo>
                              <a:lnTo>
                                <a:pt x="640" y="360"/>
                              </a:lnTo>
                              <a:lnTo>
                                <a:pt x="643" y="368"/>
                              </a:lnTo>
                              <a:lnTo>
                                <a:pt x="647" y="378"/>
                              </a:lnTo>
                              <a:lnTo>
                                <a:pt x="639" y="383"/>
                              </a:lnTo>
                              <a:lnTo>
                                <a:pt x="629" y="381"/>
                              </a:lnTo>
                              <a:lnTo>
                                <a:pt x="619" y="385"/>
                              </a:lnTo>
                              <a:lnTo>
                                <a:pt x="611" y="385"/>
                              </a:lnTo>
                              <a:lnTo>
                                <a:pt x="603" y="383"/>
                              </a:lnTo>
                              <a:lnTo>
                                <a:pt x="602" y="390"/>
                              </a:lnTo>
                              <a:lnTo>
                                <a:pt x="611" y="393"/>
                              </a:lnTo>
                              <a:lnTo>
                                <a:pt x="611" y="399"/>
                              </a:lnTo>
                              <a:lnTo>
                                <a:pt x="601" y="397"/>
                              </a:lnTo>
                              <a:lnTo>
                                <a:pt x="590" y="398"/>
                              </a:lnTo>
                              <a:lnTo>
                                <a:pt x="581" y="397"/>
                              </a:lnTo>
                              <a:lnTo>
                                <a:pt x="575" y="393"/>
                              </a:lnTo>
                              <a:lnTo>
                                <a:pt x="567" y="390"/>
                              </a:lnTo>
                              <a:lnTo>
                                <a:pt x="559" y="390"/>
                              </a:lnTo>
                              <a:lnTo>
                                <a:pt x="553" y="392"/>
                              </a:lnTo>
                              <a:lnTo>
                                <a:pt x="557" y="400"/>
                              </a:lnTo>
                              <a:lnTo>
                                <a:pt x="557" y="406"/>
                              </a:lnTo>
                              <a:lnTo>
                                <a:pt x="550" y="412"/>
                              </a:lnTo>
                              <a:lnTo>
                                <a:pt x="556" y="418"/>
                              </a:lnTo>
                              <a:lnTo>
                                <a:pt x="557" y="431"/>
                              </a:lnTo>
                              <a:lnTo>
                                <a:pt x="552" y="439"/>
                              </a:lnTo>
                              <a:lnTo>
                                <a:pt x="552" y="448"/>
                              </a:lnTo>
                              <a:lnTo>
                                <a:pt x="552" y="454"/>
                              </a:lnTo>
                              <a:lnTo>
                                <a:pt x="557" y="459"/>
                              </a:lnTo>
                              <a:lnTo>
                                <a:pt x="557" y="466"/>
                              </a:lnTo>
                              <a:lnTo>
                                <a:pt x="548" y="461"/>
                              </a:lnTo>
                              <a:lnTo>
                                <a:pt x="539" y="461"/>
                              </a:lnTo>
                              <a:lnTo>
                                <a:pt x="531" y="460"/>
                              </a:lnTo>
                              <a:lnTo>
                                <a:pt x="522" y="466"/>
                              </a:lnTo>
                              <a:lnTo>
                                <a:pt x="520" y="474"/>
                              </a:lnTo>
                              <a:lnTo>
                                <a:pt x="528" y="482"/>
                              </a:lnTo>
                              <a:lnTo>
                                <a:pt x="527" y="491"/>
                              </a:lnTo>
                              <a:lnTo>
                                <a:pt x="520" y="493"/>
                              </a:lnTo>
                              <a:lnTo>
                                <a:pt x="514" y="493"/>
                              </a:lnTo>
                              <a:lnTo>
                                <a:pt x="507" y="493"/>
                              </a:lnTo>
                              <a:lnTo>
                                <a:pt x="501" y="492"/>
                              </a:lnTo>
                              <a:lnTo>
                                <a:pt x="499" y="500"/>
                              </a:lnTo>
                              <a:lnTo>
                                <a:pt x="493" y="505"/>
                              </a:lnTo>
                              <a:lnTo>
                                <a:pt x="484" y="505"/>
                              </a:lnTo>
                              <a:lnTo>
                                <a:pt x="474" y="503"/>
                              </a:lnTo>
                              <a:lnTo>
                                <a:pt x="464" y="499"/>
                              </a:lnTo>
                              <a:lnTo>
                                <a:pt x="456" y="495"/>
                              </a:lnTo>
                              <a:lnTo>
                                <a:pt x="450" y="491"/>
                              </a:lnTo>
                              <a:lnTo>
                                <a:pt x="454" y="481"/>
                              </a:lnTo>
                              <a:lnTo>
                                <a:pt x="454" y="472"/>
                              </a:lnTo>
                              <a:lnTo>
                                <a:pt x="449" y="463"/>
                              </a:lnTo>
                              <a:lnTo>
                                <a:pt x="447" y="456"/>
                              </a:lnTo>
                              <a:lnTo>
                                <a:pt x="438" y="451"/>
                              </a:lnTo>
                              <a:lnTo>
                                <a:pt x="430" y="451"/>
                              </a:lnTo>
                              <a:lnTo>
                                <a:pt x="419" y="449"/>
                              </a:lnTo>
                              <a:lnTo>
                                <a:pt x="410" y="446"/>
                              </a:lnTo>
                              <a:lnTo>
                                <a:pt x="403" y="439"/>
                              </a:lnTo>
                              <a:lnTo>
                                <a:pt x="403" y="432"/>
                              </a:lnTo>
                              <a:lnTo>
                                <a:pt x="400" y="424"/>
                              </a:lnTo>
                              <a:lnTo>
                                <a:pt x="386" y="423"/>
                              </a:lnTo>
                              <a:lnTo>
                                <a:pt x="381" y="428"/>
                              </a:lnTo>
                              <a:lnTo>
                                <a:pt x="368" y="431"/>
                              </a:lnTo>
                              <a:lnTo>
                                <a:pt x="358" y="432"/>
                              </a:lnTo>
                              <a:lnTo>
                                <a:pt x="364" y="440"/>
                              </a:lnTo>
                              <a:lnTo>
                                <a:pt x="367" y="451"/>
                              </a:lnTo>
                              <a:lnTo>
                                <a:pt x="374" y="456"/>
                              </a:lnTo>
                              <a:lnTo>
                                <a:pt x="371" y="463"/>
                              </a:lnTo>
                              <a:lnTo>
                                <a:pt x="362" y="462"/>
                              </a:lnTo>
                              <a:lnTo>
                                <a:pt x="361" y="468"/>
                              </a:lnTo>
                              <a:lnTo>
                                <a:pt x="353" y="472"/>
                              </a:lnTo>
                              <a:lnTo>
                                <a:pt x="343" y="472"/>
                              </a:lnTo>
                              <a:lnTo>
                                <a:pt x="341" y="465"/>
                              </a:lnTo>
                              <a:lnTo>
                                <a:pt x="347" y="458"/>
                              </a:lnTo>
                              <a:lnTo>
                                <a:pt x="347" y="452"/>
                              </a:lnTo>
                              <a:lnTo>
                                <a:pt x="341" y="452"/>
                              </a:lnTo>
                              <a:lnTo>
                                <a:pt x="337" y="446"/>
                              </a:lnTo>
                              <a:lnTo>
                                <a:pt x="330" y="442"/>
                              </a:lnTo>
                              <a:lnTo>
                                <a:pt x="322" y="444"/>
                              </a:lnTo>
                              <a:lnTo>
                                <a:pt x="321" y="437"/>
                              </a:lnTo>
                              <a:lnTo>
                                <a:pt x="314" y="434"/>
                              </a:lnTo>
                              <a:lnTo>
                                <a:pt x="306" y="426"/>
                              </a:lnTo>
                              <a:lnTo>
                                <a:pt x="304" y="418"/>
                              </a:lnTo>
                              <a:lnTo>
                                <a:pt x="305" y="411"/>
                              </a:lnTo>
                              <a:lnTo>
                                <a:pt x="312" y="411"/>
                              </a:lnTo>
                              <a:lnTo>
                                <a:pt x="324" y="417"/>
                              </a:lnTo>
                              <a:lnTo>
                                <a:pt x="337" y="424"/>
                              </a:lnTo>
                              <a:lnTo>
                                <a:pt x="346" y="426"/>
                              </a:lnTo>
                              <a:lnTo>
                                <a:pt x="355" y="423"/>
                              </a:lnTo>
                              <a:lnTo>
                                <a:pt x="360" y="415"/>
                              </a:lnTo>
                              <a:lnTo>
                                <a:pt x="365" y="407"/>
                              </a:lnTo>
                              <a:lnTo>
                                <a:pt x="359" y="405"/>
                              </a:lnTo>
                              <a:lnTo>
                                <a:pt x="349" y="397"/>
                              </a:lnTo>
                              <a:lnTo>
                                <a:pt x="353" y="389"/>
                              </a:lnTo>
                              <a:lnTo>
                                <a:pt x="361" y="383"/>
                              </a:lnTo>
                              <a:lnTo>
                                <a:pt x="368" y="383"/>
                              </a:lnTo>
                              <a:lnTo>
                                <a:pt x="377" y="378"/>
                              </a:lnTo>
                              <a:lnTo>
                                <a:pt x="376" y="371"/>
                              </a:lnTo>
                              <a:lnTo>
                                <a:pt x="372" y="363"/>
                              </a:lnTo>
                              <a:lnTo>
                                <a:pt x="382" y="360"/>
                              </a:lnTo>
                              <a:lnTo>
                                <a:pt x="390" y="360"/>
                              </a:lnTo>
                              <a:lnTo>
                                <a:pt x="392" y="353"/>
                              </a:lnTo>
                              <a:lnTo>
                                <a:pt x="392" y="347"/>
                              </a:lnTo>
                              <a:lnTo>
                                <a:pt x="404" y="345"/>
                              </a:lnTo>
                              <a:lnTo>
                                <a:pt x="403" y="335"/>
                              </a:lnTo>
                              <a:lnTo>
                                <a:pt x="405" y="328"/>
                              </a:lnTo>
                              <a:lnTo>
                                <a:pt x="398" y="320"/>
                              </a:lnTo>
                              <a:lnTo>
                                <a:pt x="396" y="309"/>
                              </a:lnTo>
                              <a:lnTo>
                                <a:pt x="396" y="303"/>
                              </a:lnTo>
                              <a:lnTo>
                                <a:pt x="390" y="292"/>
                              </a:lnTo>
                              <a:lnTo>
                                <a:pt x="389" y="285"/>
                              </a:lnTo>
                              <a:lnTo>
                                <a:pt x="390" y="278"/>
                              </a:lnTo>
                              <a:lnTo>
                                <a:pt x="382" y="273"/>
                              </a:lnTo>
                              <a:lnTo>
                                <a:pt x="373" y="268"/>
                              </a:lnTo>
                              <a:lnTo>
                                <a:pt x="372" y="259"/>
                              </a:lnTo>
                              <a:lnTo>
                                <a:pt x="364" y="263"/>
                              </a:lnTo>
                              <a:lnTo>
                                <a:pt x="355" y="258"/>
                              </a:lnTo>
                              <a:lnTo>
                                <a:pt x="340" y="249"/>
                              </a:lnTo>
                              <a:lnTo>
                                <a:pt x="329" y="238"/>
                              </a:lnTo>
                              <a:lnTo>
                                <a:pt x="315" y="231"/>
                              </a:lnTo>
                              <a:lnTo>
                                <a:pt x="315" y="224"/>
                              </a:lnTo>
                              <a:lnTo>
                                <a:pt x="305" y="224"/>
                              </a:lnTo>
                              <a:lnTo>
                                <a:pt x="295" y="224"/>
                              </a:lnTo>
                              <a:lnTo>
                                <a:pt x="271" y="214"/>
                              </a:lnTo>
                              <a:lnTo>
                                <a:pt x="267" y="203"/>
                              </a:lnTo>
                              <a:lnTo>
                                <a:pt x="252" y="194"/>
                              </a:lnTo>
                              <a:lnTo>
                                <a:pt x="249" y="186"/>
                              </a:lnTo>
                              <a:lnTo>
                                <a:pt x="240" y="182"/>
                              </a:lnTo>
                              <a:lnTo>
                                <a:pt x="228" y="182"/>
                              </a:lnTo>
                              <a:lnTo>
                                <a:pt x="221" y="182"/>
                              </a:lnTo>
                              <a:lnTo>
                                <a:pt x="211" y="187"/>
                              </a:lnTo>
                              <a:lnTo>
                                <a:pt x="175" y="166"/>
                              </a:lnTo>
                              <a:lnTo>
                                <a:pt x="166" y="173"/>
                              </a:lnTo>
                              <a:lnTo>
                                <a:pt x="166" y="191"/>
                              </a:lnTo>
                              <a:lnTo>
                                <a:pt x="163" y="206"/>
                              </a:lnTo>
                              <a:lnTo>
                                <a:pt x="157" y="204"/>
                              </a:lnTo>
                              <a:lnTo>
                                <a:pt x="150" y="204"/>
                              </a:lnTo>
                              <a:lnTo>
                                <a:pt x="140" y="190"/>
                              </a:lnTo>
                              <a:lnTo>
                                <a:pt x="134" y="188"/>
                              </a:lnTo>
                              <a:lnTo>
                                <a:pt x="127" y="186"/>
                              </a:lnTo>
                              <a:lnTo>
                                <a:pt x="120" y="180"/>
                              </a:lnTo>
                              <a:lnTo>
                                <a:pt x="115" y="172"/>
                              </a:lnTo>
                              <a:lnTo>
                                <a:pt x="105" y="163"/>
                              </a:lnTo>
                              <a:lnTo>
                                <a:pt x="98" y="159"/>
                              </a:lnTo>
                              <a:lnTo>
                                <a:pt x="90" y="157"/>
                              </a:lnTo>
                              <a:lnTo>
                                <a:pt x="81" y="155"/>
                              </a:lnTo>
                              <a:lnTo>
                                <a:pt x="73" y="152"/>
                              </a:lnTo>
                              <a:lnTo>
                                <a:pt x="63" y="147"/>
                              </a:lnTo>
                              <a:lnTo>
                                <a:pt x="55" y="145"/>
                              </a:lnTo>
                              <a:lnTo>
                                <a:pt x="43" y="147"/>
                              </a:lnTo>
                              <a:lnTo>
                                <a:pt x="34" y="146"/>
                              </a:lnTo>
                              <a:lnTo>
                                <a:pt x="0" y="146"/>
                              </a:ln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34" name="Freeform 21"/>
                        <p:cNvSpPr>
                          <a:spLocks noChangeArrowheads="1"/>
                        </p:cNvSpPr>
                        <p:nvPr/>
                      </p:nvSpPr>
                      <p:spPr bwMode="auto">
                        <a:xfrm>
                          <a:off x="3394278" y="652199"/>
                          <a:ext cx="705640" cy="517299"/>
                        </a:xfrm>
                        <a:custGeom>
                          <a:avLst/>
                          <a:gdLst>
                            <a:gd name="T0" fmla="*/ 2147483647 w 381"/>
                            <a:gd name="T1" fmla="*/ 2147483647 h 243"/>
                            <a:gd name="T2" fmla="*/ 2147483647 w 381"/>
                            <a:gd name="T3" fmla="*/ 2147483647 h 243"/>
                            <a:gd name="T4" fmla="*/ 2147483647 w 381"/>
                            <a:gd name="T5" fmla="*/ 2147483647 h 243"/>
                            <a:gd name="T6" fmla="*/ 2147483647 w 381"/>
                            <a:gd name="T7" fmla="*/ 2147483647 h 243"/>
                            <a:gd name="T8" fmla="*/ 2147483647 w 381"/>
                            <a:gd name="T9" fmla="*/ 2147483647 h 243"/>
                            <a:gd name="T10" fmla="*/ 2147483647 w 381"/>
                            <a:gd name="T11" fmla="*/ 2147483647 h 243"/>
                            <a:gd name="T12" fmla="*/ 2147483647 w 381"/>
                            <a:gd name="T13" fmla="*/ 2147483647 h 243"/>
                            <a:gd name="T14" fmla="*/ 2147483647 w 381"/>
                            <a:gd name="T15" fmla="*/ 2147483647 h 243"/>
                            <a:gd name="T16" fmla="*/ 2147483647 w 381"/>
                            <a:gd name="T17" fmla="*/ 2147483647 h 243"/>
                            <a:gd name="T18" fmla="*/ 2147483647 w 381"/>
                            <a:gd name="T19" fmla="*/ 2147483647 h 243"/>
                            <a:gd name="T20" fmla="*/ 2147483647 w 381"/>
                            <a:gd name="T21" fmla="*/ 2147483647 h 243"/>
                            <a:gd name="T22" fmla="*/ 2147483647 w 381"/>
                            <a:gd name="T23" fmla="*/ 2147483647 h 243"/>
                            <a:gd name="T24" fmla="*/ 2147483647 w 381"/>
                            <a:gd name="T25" fmla="*/ 2147483647 h 243"/>
                            <a:gd name="T26" fmla="*/ 2147483647 w 381"/>
                            <a:gd name="T27" fmla="*/ 2147483647 h 243"/>
                            <a:gd name="T28" fmla="*/ 2147483647 w 381"/>
                            <a:gd name="T29" fmla="*/ 2147483647 h 243"/>
                            <a:gd name="T30" fmla="*/ 2147483647 w 381"/>
                            <a:gd name="T31" fmla="*/ 2147483647 h 243"/>
                            <a:gd name="T32" fmla="*/ 2147483647 w 381"/>
                            <a:gd name="T33" fmla="*/ 2147483647 h 243"/>
                            <a:gd name="T34" fmla="*/ 2147483647 w 381"/>
                            <a:gd name="T35" fmla="*/ 2147483647 h 243"/>
                            <a:gd name="T36" fmla="*/ 2147483647 w 381"/>
                            <a:gd name="T37" fmla="*/ 2147483647 h 243"/>
                            <a:gd name="T38" fmla="*/ 2147483647 w 381"/>
                            <a:gd name="T39" fmla="*/ 2147483647 h 243"/>
                            <a:gd name="T40" fmla="*/ 2147483647 w 381"/>
                            <a:gd name="T41" fmla="*/ 2147483647 h 243"/>
                            <a:gd name="T42" fmla="*/ 2147483647 w 381"/>
                            <a:gd name="T43" fmla="*/ 2147483647 h 243"/>
                            <a:gd name="T44" fmla="*/ 2147483647 w 381"/>
                            <a:gd name="T45" fmla="*/ 2147483647 h 243"/>
                            <a:gd name="T46" fmla="*/ 2147483647 w 381"/>
                            <a:gd name="T47" fmla="*/ 2147483647 h 243"/>
                            <a:gd name="T48" fmla="*/ 2147483647 w 381"/>
                            <a:gd name="T49" fmla="*/ 2147483647 h 243"/>
                            <a:gd name="T50" fmla="*/ 2147483647 w 381"/>
                            <a:gd name="T51" fmla="*/ 2147483647 h 243"/>
                            <a:gd name="T52" fmla="*/ 0 w 381"/>
                            <a:gd name="T53" fmla="*/ 2147483647 h 243"/>
                            <a:gd name="T54" fmla="*/ 2147483647 w 381"/>
                            <a:gd name="T55" fmla="*/ 2147483647 h 243"/>
                            <a:gd name="T56" fmla="*/ 2147483647 w 381"/>
                            <a:gd name="T57" fmla="*/ 2147483647 h 243"/>
                            <a:gd name="T58" fmla="*/ 2147483647 w 381"/>
                            <a:gd name="T59" fmla="*/ 2147483647 h 243"/>
                            <a:gd name="T60" fmla="*/ 2147483647 w 381"/>
                            <a:gd name="T61" fmla="*/ 2147483647 h 243"/>
                            <a:gd name="T62" fmla="*/ 2147483647 w 381"/>
                            <a:gd name="T63" fmla="*/ 2147483647 h 243"/>
                            <a:gd name="T64" fmla="*/ 2147483647 w 381"/>
                            <a:gd name="T65" fmla="*/ 2147483647 h 243"/>
                            <a:gd name="T66" fmla="*/ 2147483647 w 381"/>
                            <a:gd name="T67" fmla="*/ 2147483647 h 243"/>
                            <a:gd name="T68" fmla="*/ 2147483647 w 381"/>
                            <a:gd name="T69" fmla="*/ 2147483647 h 243"/>
                            <a:gd name="T70" fmla="*/ 2147483647 w 381"/>
                            <a:gd name="T71" fmla="*/ 2147483647 h 243"/>
                            <a:gd name="T72" fmla="*/ 2147483647 w 381"/>
                            <a:gd name="T73" fmla="*/ 2147483647 h 243"/>
                            <a:gd name="T74" fmla="*/ 2147483647 w 381"/>
                            <a:gd name="T75" fmla="*/ 2147483647 h 243"/>
                            <a:gd name="T76" fmla="*/ 2147483647 w 381"/>
                            <a:gd name="T77" fmla="*/ 2147483647 h 243"/>
                            <a:gd name="T78" fmla="*/ 2147483647 w 381"/>
                            <a:gd name="T79" fmla="*/ 2147483647 h 243"/>
                            <a:gd name="T80" fmla="*/ 2147483647 w 381"/>
                            <a:gd name="T81" fmla="*/ 2147483647 h 243"/>
                            <a:gd name="T82" fmla="*/ 2147483647 w 381"/>
                            <a:gd name="T83" fmla="*/ 2147483647 h 243"/>
                            <a:gd name="T84" fmla="*/ 2147483647 w 381"/>
                            <a:gd name="T85" fmla="*/ 2147483647 h 243"/>
                            <a:gd name="T86" fmla="*/ 2147483647 w 381"/>
                            <a:gd name="T87" fmla="*/ 2147483647 h 243"/>
                            <a:gd name="T88" fmla="*/ 2147483647 w 381"/>
                            <a:gd name="T89" fmla="*/ 2147483647 h 243"/>
                            <a:gd name="T90" fmla="*/ 2147483647 w 381"/>
                            <a:gd name="T91" fmla="*/ 2147483647 h 24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81"/>
                            <a:gd name="T139" fmla="*/ 0 h 243"/>
                            <a:gd name="T140" fmla="*/ 381 w 381"/>
                            <a:gd name="T141" fmla="*/ 243 h 24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81" h="243">
                              <a:moveTo>
                                <a:pt x="381" y="89"/>
                              </a:moveTo>
                              <a:lnTo>
                                <a:pt x="381" y="98"/>
                              </a:lnTo>
                              <a:lnTo>
                                <a:pt x="381" y="105"/>
                              </a:lnTo>
                              <a:lnTo>
                                <a:pt x="380" y="115"/>
                              </a:lnTo>
                              <a:lnTo>
                                <a:pt x="371" y="116"/>
                              </a:lnTo>
                              <a:lnTo>
                                <a:pt x="366" y="121"/>
                              </a:lnTo>
                              <a:lnTo>
                                <a:pt x="358" y="127"/>
                              </a:lnTo>
                              <a:lnTo>
                                <a:pt x="349" y="127"/>
                              </a:lnTo>
                              <a:lnTo>
                                <a:pt x="344" y="118"/>
                              </a:lnTo>
                              <a:lnTo>
                                <a:pt x="332" y="118"/>
                              </a:lnTo>
                              <a:lnTo>
                                <a:pt x="331" y="127"/>
                              </a:lnTo>
                              <a:lnTo>
                                <a:pt x="333" y="136"/>
                              </a:lnTo>
                              <a:lnTo>
                                <a:pt x="330" y="145"/>
                              </a:lnTo>
                              <a:lnTo>
                                <a:pt x="320" y="146"/>
                              </a:lnTo>
                              <a:lnTo>
                                <a:pt x="314" y="152"/>
                              </a:lnTo>
                              <a:lnTo>
                                <a:pt x="317" y="161"/>
                              </a:lnTo>
                              <a:lnTo>
                                <a:pt x="310" y="169"/>
                              </a:lnTo>
                              <a:lnTo>
                                <a:pt x="303" y="170"/>
                              </a:lnTo>
                              <a:lnTo>
                                <a:pt x="294" y="170"/>
                              </a:lnTo>
                              <a:lnTo>
                                <a:pt x="282" y="176"/>
                              </a:lnTo>
                              <a:lnTo>
                                <a:pt x="273" y="175"/>
                              </a:lnTo>
                              <a:lnTo>
                                <a:pt x="279" y="180"/>
                              </a:lnTo>
                              <a:lnTo>
                                <a:pt x="281" y="189"/>
                              </a:lnTo>
                              <a:lnTo>
                                <a:pt x="289" y="192"/>
                              </a:lnTo>
                              <a:lnTo>
                                <a:pt x="288" y="202"/>
                              </a:lnTo>
                              <a:lnTo>
                                <a:pt x="279" y="203"/>
                              </a:lnTo>
                              <a:lnTo>
                                <a:pt x="269" y="205"/>
                              </a:lnTo>
                              <a:lnTo>
                                <a:pt x="259" y="205"/>
                              </a:lnTo>
                              <a:lnTo>
                                <a:pt x="247" y="203"/>
                              </a:lnTo>
                              <a:lnTo>
                                <a:pt x="240" y="199"/>
                              </a:lnTo>
                              <a:lnTo>
                                <a:pt x="233" y="193"/>
                              </a:lnTo>
                              <a:lnTo>
                                <a:pt x="224" y="196"/>
                              </a:lnTo>
                              <a:lnTo>
                                <a:pt x="222" y="204"/>
                              </a:lnTo>
                              <a:lnTo>
                                <a:pt x="219" y="218"/>
                              </a:lnTo>
                              <a:lnTo>
                                <a:pt x="212" y="228"/>
                              </a:lnTo>
                              <a:lnTo>
                                <a:pt x="206" y="239"/>
                              </a:lnTo>
                              <a:lnTo>
                                <a:pt x="197" y="243"/>
                              </a:lnTo>
                              <a:lnTo>
                                <a:pt x="188" y="242"/>
                              </a:lnTo>
                              <a:lnTo>
                                <a:pt x="192" y="231"/>
                              </a:lnTo>
                              <a:lnTo>
                                <a:pt x="186" y="222"/>
                              </a:lnTo>
                              <a:lnTo>
                                <a:pt x="181" y="214"/>
                              </a:lnTo>
                              <a:lnTo>
                                <a:pt x="175" y="207"/>
                              </a:lnTo>
                              <a:lnTo>
                                <a:pt x="167" y="203"/>
                              </a:lnTo>
                              <a:lnTo>
                                <a:pt x="167" y="191"/>
                              </a:lnTo>
                              <a:lnTo>
                                <a:pt x="173" y="184"/>
                              </a:lnTo>
                              <a:lnTo>
                                <a:pt x="166" y="180"/>
                              </a:lnTo>
                              <a:lnTo>
                                <a:pt x="160" y="175"/>
                              </a:lnTo>
                              <a:lnTo>
                                <a:pt x="152" y="167"/>
                              </a:lnTo>
                              <a:lnTo>
                                <a:pt x="152" y="161"/>
                              </a:lnTo>
                              <a:lnTo>
                                <a:pt x="144" y="154"/>
                              </a:lnTo>
                              <a:lnTo>
                                <a:pt x="141" y="146"/>
                              </a:lnTo>
                              <a:lnTo>
                                <a:pt x="130" y="152"/>
                              </a:lnTo>
                              <a:lnTo>
                                <a:pt x="125" y="157"/>
                              </a:lnTo>
                              <a:lnTo>
                                <a:pt x="119" y="149"/>
                              </a:lnTo>
                              <a:lnTo>
                                <a:pt x="123" y="141"/>
                              </a:lnTo>
                              <a:lnTo>
                                <a:pt x="117" y="140"/>
                              </a:lnTo>
                              <a:lnTo>
                                <a:pt x="105" y="137"/>
                              </a:lnTo>
                              <a:lnTo>
                                <a:pt x="97" y="132"/>
                              </a:lnTo>
                              <a:lnTo>
                                <a:pt x="88" y="135"/>
                              </a:lnTo>
                              <a:lnTo>
                                <a:pt x="80" y="132"/>
                              </a:lnTo>
                              <a:lnTo>
                                <a:pt x="79" y="125"/>
                              </a:lnTo>
                              <a:lnTo>
                                <a:pt x="86" y="122"/>
                              </a:lnTo>
                              <a:lnTo>
                                <a:pt x="79" y="113"/>
                              </a:lnTo>
                              <a:lnTo>
                                <a:pt x="73" y="103"/>
                              </a:lnTo>
                              <a:lnTo>
                                <a:pt x="68" y="94"/>
                              </a:lnTo>
                              <a:lnTo>
                                <a:pt x="64" y="87"/>
                              </a:lnTo>
                              <a:lnTo>
                                <a:pt x="56" y="89"/>
                              </a:lnTo>
                              <a:lnTo>
                                <a:pt x="50" y="91"/>
                              </a:lnTo>
                              <a:lnTo>
                                <a:pt x="48" y="97"/>
                              </a:lnTo>
                              <a:lnTo>
                                <a:pt x="39" y="100"/>
                              </a:lnTo>
                              <a:lnTo>
                                <a:pt x="32" y="101"/>
                              </a:lnTo>
                              <a:lnTo>
                                <a:pt x="30" y="91"/>
                              </a:lnTo>
                              <a:lnTo>
                                <a:pt x="24" y="84"/>
                              </a:lnTo>
                              <a:lnTo>
                                <a:pt x="17" y="72"/>
                              </a:lnTo>
                              <a:lnTo>
                                <a:pt x="17" y="65"/>
                              </a:lnTo>
                              <a:lnTo>
                                <a:pt x="22" y="56"/>
                              </a:lnTo>
                              <a:lnTo>
                                <a:pt x="23" y="47"/>
                              </a:lnTo>
                              <a:lnTo>
                                <a:pt x="17" y="43"/>
                              </a:lnTo>
                              <a:lnTo>
                                <a:pt x="11" y="39"/>
                              </a:lnTo>
                              <a:lnTo>
                                <a:pt x="4" y="35"/>
                              </a:lnTo>
                              <a:lnTo>
                                <a:pt x="0" y="27"/>
                              </a:lnTo>
                              <a:lnTo>
                                <a:pt x="1" y="21"/>
                              </a:lnTo>
                              <a:lnTo>
                                <a:pt x="10" y="18"/>
                              </a:lnTo>
                              <a:lnTo>
                                <a:pt x="21" y="28"/>
                              </a:lnTo>
                              <a:lnTo>
                                <a:pt x="31" y="30"/>
                              </a:lnTo>
                              <a:lnTo>
                                <a:pt x="41" y="31"/>
                              </a:lnTo>
                              <a:lnTo>
                                <a:pt x="41" y="16"/>
                              </a:lnTo>
                              <a:lnTo>
                                <a:pt x="49" y="11"/>
                              </a:lnTo>
                              <a:lnTo>
                                <a:pt x="51" y="0"/>
                              </a:lnTo>
                              <a:lnTo>
                                <a:pt x="61" y="5"/>
                              </a:lnTo>
                              <a:lnTo>
                                <a:pt x="67" y="3"/>
                              </a:lnTo>
                              <a:lnTo>
                                <a:pt x="73" y="2"/>
                              </a:lnTo>
                              <a:lnTo>
                                <a:pt x="86" y="1"/>
                              </a:lnTo>
                              <a:lnTo>
                                <a:pt x="85" y="8"/>
                              </a:lnTo>
                              <a:lnTo>
                                <a:pt x="89" y="22"/>
                              </a:lnTo>
                              <a:lnTo>
                                <a:pt x="95" y="28"/>
                              </a:lnTo>
                              <a:lnTo>
                                <a:pt x="104" y="31"/>
                              </a:lnTo>
                              <a:lnTo>
                                <a:pt x="109" y="37"/>
                              </a:lnTo>
                              <a:lnTo>
                                <a:pt x="118" y="35"/>
                              </a:lnTo>
                              <a:lnTo>
                                <a:pt x="126" y="33"/>
                              </a:lnTo>
                              <a:lnTo>
                                <a:pt x="132" y="33"/>
                              </a:lnTo>
                              <a:lnTo>
                                <a:pt x="142" y="32"/>
                              </a:lnTo>
                              <a:lnTo>
                                <a:pt x="148" y="30"/>
                              </a:lnTo>
                              <a:lnTo>
                                <a:pt x="154" y="25"/>
                              </a:lnTo>
                              <a:lnTo>
                                <a:pt x="153" y="32"/>
                              </a:lnTo>
                              <a:lnTo>
                                <a:pt x="160" y="40"/>
                              </a:lnTo>
                              <a:lnTo>
                                <a:pt x="169" y="41"/>
                              </a:lnTo>
                              <a:lnTo>
                                <a:pt x="175" y="43"/>
                              </a:lnTo>
                              <a:lnTo>
                                <a:pt x="181" y="38"/>
                              </a:lnTo>
                              <a:lnTo>
                                <a:pt x="192" y="35"/>
                              </a:lnTo>
                              <a:lnTo>
                                <a:pt x="200" y="37"/>
                              </a:lnTo>
                              <a:lnTo>
                                <a:pt x="207" y="41"/>
                              </a:lnTo>
                              <a:lnTo>
                                <a:pt x="212" y="49"/>
                              </a:lnTo>
                              <a:lnTo>
                                <a:pt x="212" y="56"/>
                              </a:lnTo>
                              <a:lnTo>
                                <a:pt x="218" y="62"/>
                              </a:lnTo>
                              <a:lnTo>
                                <a:pt x="227" y="59"/>
                              </a:lnTo>
                              <a:lnTo>
                                <a:pt x="233" y="64"/>
                              </a:lnTo>
                              <a:lnTo>
                                <a:pt x="238" y="77"/>
                              </a:lnTo>
                              <a:lnTo>
                                <a:pt x="250" y="82"/>
                              </a:lnTo>
                              <a:lnTo>
                                <a:pt x="258" y="79"/>
                              </a:lnTo>
                              <a:lnTo>
                                <a:pt x="254" y="70"/>
                              </a:lnTo>
                              <a:lnTo>
                                <a:pt x="257" y="60"/>
                              </a:lnTo>
                              <a:lnTo>
                                <a:pt x="264" y="59"/>
                              </a:lnTo>
                              <a:lnTo>
                                <a:pt x="268" y="65"/>
                              </a:lnTo>
                              <a:lnTo>
                                <a:pt x="271" y="77"/>
                              </a:lnTo>
                              <a:lnTo>
                                <a:pt x="277" y="85"/>
                              </a:lnTo>
                              <a:lnTo>
                                <a:pt x="284" y="84"/>
                              </a:lnTo>
                              <a:lnTo>
                                <a:pt x="287" y="97"/>
                              </a:lnTo>
                              <a:lnTo>
                                <a:pt x="300" y="98"/>
                              </a:lnTo>
                              <a:lnTo>
                                <a:pt x="304" y="89"/>
                              </a:lnTo>
                              <a:lnTo>
                                <a:pt x="303" y="83"/>
                              </a:lnTo>
                              <a:lnTo>
                                <a:pt x="322" y="77"/>
                              </a:lnTo>
                              <a:lnTo>
                                <a:pt x="320" y="70"/>
                              </a:lnTo>
                              <a:lnTo>
                                <a:pt x="327" y="68"/>
                              </a:lnTo>
                              <a:lnTo>
                                <a:pt x="331" y="75"/>
                              </a:lnTo>
                              <a:lnTo>
                                <a:pt x="338" y="71"/>
                              </a:lnTo>
                              <a:lnTo>
                                <a:pt x="346" y="74"/>
                              </a:lnTo>
                              <a:lnTo>
                                <a:pt x="357" y="86"/>
                              </a:lnTo>
                              <a:lnTo>
                                <a:pt x="370" y="89"/>
                              </a:lnTo>
                              <a:lnTo>
                                <a:pt x="381" y="89"/>
                              </a:ln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35" name="Freeform 23"/>
                        <p:cNvSpPr>
                          <a:spLocks noChangeArrowheads="1"/>
                        </p:cNvSpPr>
                        <p:nvPr/>
                      </p:nvSpPr>
                      <p:spPr bwMode="auto">
                        <a:xfrm>
                          <a:off x="3244653" y="941121"/>
                          <a:ext cx="512604" cy="499241"/>
                        </a:xfrm>
                        <a:custGeom>
                          <a:avLst/>
                          <a:gdLst>
                            <a:gd name="T0" fmla="*/ 2147483647 w 277"/>
                            <a:gd name="T1" fmla="*/ 2147483647 h 234"/>
                            <a:gd name="T2" fmla="*/ 2147483647 w 277"/>
                            <a:gd name="T3" fmla="*/ 2147483647 h 234"/>
                            <a:gd name="T4" fmla="*/ 2147483647 w 277"/>
                            <a:gd name="T5" fmla="*/ 2147483647 h 234"/>
                            <a:gd name="T6" fmla="*/ 2147483647 w 277"/>
                            <a:gd name="T7" fmla="*/ 2147483647 h 234"/>
                            <a:gd name="T8" fmla="*/ 2147483647 w 277"/>
                            <a:gd name="T9" fmla="*/ 2147483647 h 234"/>
                            <a:gd name="T10" fmla="*/ 2147483647 w 277"/>
                            <a:gd name="T11" fmla="*/ 2147483647 h 234"/>
                            <a:gd name="T12" fmla="*/ 2147483647 w 277"/>
                            <a:gd name="T13" fmla="*/ 2147483647 h 234"/>
                            <a:gd name="T14" fmla="*/ 2147483647 w 277"/>
                            <a:gd name="T15" fmla="*/ 2147483647 h 234"/>
                            <a:gd name="T16" fmla="*/ 2147483647 w 277"/>
                            <a:gd name="T17" fmla="*/ 2147483647 h 234"/>
                            <a:gd name="T18" fmla="*/ 2147483647 w 277"/>
                            <a:gd name="T19" fmla="*/ 2147483647 h 234"/>
                            <a:gd name="T20" fmla="*/ 2147483647 w 277"/>
                            <a:gd name="T21" fmla="*/ 2147483647 h 234"/>
                            <a:gd name="T22" fmla="*/ 2147483647 w 277"/>
                            <a:gd name="T23" fmla="*/ 2147483647 h 234"/>
                            <a:gd name="T24" fmla="*/ 2147483647 w 277"/>
                            <a:gd name="T25" fmla="*/ 2147483647 h 234"/>
                            <a:gd name="T26" fmla="*/ 2147483647 w 277"/>
                            <a:gd name="T27" fmla="*/ 2147483647 h 234"/>
                            <a:gd name="T28" fmla="*/ 2147483647 w 277"/>
                            <a:gd name="T29" fmla="*/ 2147483647 h 234"/>
                            <a:gd name="T30" fmla="*/ 2147483647 w 277"/>
                            <a:gd name="T31" fmla="*/ 2147483647 h 234"/>
                            <a:gd name="T32" fmla="*/ 2147483647 w 277"/>
                            <a:gd name="T33" fmla="*/ 2147483647 h 234"/>
                            <a:gd name="T34" fmla="*/ 2147483647 w 277"/>
                            <a:gd name="T35" fmla="*/ 2147483647 h 234"/>
                            <a:gd name="T36" fmla="*/ 2147483647 w 277"/>
                            <a:gd name="T37" fmla="*/ 2147483647 h 234"/>
                            <a:gd name="T38" fmla="*/ 2147483647 w 277"/>
                            <a:gd name="T39" fmla="*/ 2147483647 h 234"/>
                            <a:gd name="T40" fmla="*/ 2147483647 w 277"/>
                            <a:gd name="T41" fmla="*/ 2147483647 h 234"/>
                            <a:gd name="T42" fmla="*/ 2147483647 w 277"/>
                            <a:gd name="T43" fmla="*/ 2147483647 h 234"/>
                            <a:gd name="T44" fmla="*/ 2147483647 w 277"/>
                            <a:gd name="T45" fmla="*/ 2147483647 h 234"/>
                            <a:gd name="T46" fmla="*/ 2147483647 w 277"/>
                            <a:gd name="T47" fmla="*/ 2147483647 h 234"/>
                            <a:gd name="T48" fmla="*/ 2147483647 w 277"/>
                            <a:gd name="T49" fmla="*/ 2147483647 h 234"/>
                            <a:gd name="T50" fmla="*/ 2147483647 w 277"/>
                            <a:gd name="T51" fmla="*/ 2147483647 h 234"/>
                            <a:gd name="T52" fmla="*/ 2147483647 w 277"/>
                            <a:gd name="T53" fmla="*/ 2147483647 h 234"/>
                            <a:gd name="T54" fmla="*/ 2147483647 w 277"/>
                            <a:gd name="T55" fmla="*/ 2147483647 h 234"/>
                            <a:gd name="T56" fmla="*/ 2147483647 w 277"/>
                            <a:gd name="T57" fmla="*/ 2147483647 h 234"/>
                            <a:gd name="T58" fmla="*/ 2147483647 w 277"/>
                            <a:gd name="T59" fmla="*/ 2147483647 h 234"/>
                            <a:gd name="T60" fmla="*/ 2147483647 w 277"/>
                            <a:gd name="T61" fmla="*/ 2147483647 h 234"/>
                            <a:gd name="T62" fmla="*/ 2147483647 w 277"/>
                            <a:gd name="T63" fmla="*/ 2147483647 h 234"/>
                            <a:gd name="T64" fmla="*/ 2147483647 w 277"/>
                            <a:gd name="T65" fmla="*/ 2147483647 h 234"/>
                            <a:gd name="T66" fmla="*/ 2147483647 w 277"/>
                            <a:gd name="T67" fmla="*/ 2147483647 h 234"/>
                            <a:gd name="T68" fmla="*/ 2147483647 w 277"/>
                            <a:gd name="T69" fmla="*/ 2147483647 h 234"/>
                            <a:gd name="T70" fmla="*/ 2147483647 w 277"/>
                            <a:gd name="T71" fmla="*/ 2147483647 h 234"/>
                            <a:gd name="T72" fmla="*/ 2147483647 w 277"/>
                            <a:gd name="T73" fmla="*/ 2147483647 h 234"/>
                            <a:gd name="T74" fmla="*/ 2147483647 w 277"/>
                            <a:gd name="T75" fmla="*/ 2147483647 h 234"/>
                            <a:gd name="T76" fmla="*/ 2147483647 w 277"/>
                            <a:gd name="T77" fmla="*/ 2147483647 h 234"/>
                            <a:gd name="T78" fmla="*/ 2147483647 w 277"/>
                            <a:gd name="T79" fmla="*/ 2147483647 h 234"/>
                            <a:gd name="T80" fmla="*/ 2147483647 w 277"/>
                            <a:gd name="T81" fmla="*/ 2147483647 h 234"/>
                            <a:gd name="T82" fmla="*/ 2147483647 w 277"/>
                            <a:gd name="T83" fmla="*/ 2147483647 h 234"/>
                            <a:gd name="T84" fmla="*/ 2147483647 w 277"/>
                            <a:gd name="T85" fmla="*/ 0 h 2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77"/>
                            <a:gd name="T130" fmla="*/ 0 h 234"/>
                            <a:gd name="T131" fmla="*/ 277 w 277"/>
                            <a:gd name="T132" fmla="*/ 234 h 23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77" h="234">
                              <a:moveTo>
                                <a:pt x="174" y="0"/>
                              </a:moveTo>
                              <a:lnTo>
                                <a:pt x="176" y="15"/>
                              </a:lnTo>
                              <a:lnTo>
                                <a:pt x="166" y="18"/>
                              </a:lnTo>
                              <a:lnTo>
                                <a:pt x="159" y="19"/>
                              </a:lnTo>
                              <a:lnTo>
                                <a:pt x="156" y="29"/>
                              </a:lnTo>
                              <a:lnTo>
                                <a:pt x="146" y="34"/>
                              </a:lnTo>
                              <a:lnTo>
                                <a:pt x="138" y="34"/>
                              </a:lnTo>
                              <a:lnTo>
                                <a:pt x="124" y="31"/>
                              </a:lnTo>
                              <a:lnTo>
                                <a:pt x="112" y="39"/>
                              </a:lnTo>
                              <a:lnTo>
                                <a:pt x="108" y="50"/>
                              </a:lnTo>
                              <a:lnTo>
                                <a:pt x="91" y="53"/>
                              </a:lnTo>
                              <a:lnTo>
                                <a:pt x="82" y="57"/>
                              </a:lnTo>
                              <a:lnTo>
                                <a:pt x="77" y="65"/>
                              </a:lnTo>
                              <a:lnTo>
                                <a:pt x="65" y="67"/>
                              </a:lnTo>
                              <a:lnTo>
                                <a:pt x="57" y="72"/>
                              </a:lnTo>
                              <a:lnTo>
                                <a:pt x="56" y="81"/>
                              </a:lnTo>
                              <a:lnTo>
                                <a:pt x="40" y="90"/>
                              </a:lnTo>
                              <a:lnTo>
                                <a:pt x="33" y="74"/>
                              </a:lnTo>
                              <a:lnTo>
                                <a:pt x="25" y="69"/>
                              </a:lnTo>
                              <a:lnTo>
                                <a:pt x="19" y="64"/>
                              </a:lnTo>
                              <a:lnTo>
                                <a:pt x="12" y="67"/>
                              </a:lnTo>
                              <a:lnTo>
                                <a:pt x="7" y="72"/>
                              </a:lnTo>
                              <a:lnTo>
                                <a:pt x="13" y="79"/>
                              </a:lnTo>
                              <a:lnTo>
                                <a:pt x="12" y="94"/>
                              </a:lnTo>
                              <a:lnTo>
                                <a:pt x="16" y="116"/>
                              </a:lnTo>
                              <a:lnTo>
                                <a:pt x="1" y="127"/>
                              </a:lnTo>
                              <a:lnTo>
                                <a:pt x="0" y="138"/>
                              </a:lnTo>
                              <a:lnTo>
                                <a:pt x="5" y="146"/>
                              </a:lnTo>
                              <a:lnTo>
                                <a:pt x="16" y="148"/>
                              </a:lnTo>
                              <a:lnTo>
                                <a:pt x="23" y="152"/>
                              </a:lnTo>
                              <a:lnTo>
                                <a:pt x="31" y="150"/>
                              </a:lnTo>
                              <a:lnTo>
                                <a:pt x="32" y="163"/>
                              </a:lnTo>
                              <a:lnTo>
                                <a:pt x="49" y="169"/>
                              </a:lnTo>
                              <a:lnTo>
                                <a:pt x="59" y="164"/>
                              </a:lnTo>
                              <a:lnTo>
                                <a:pt x="71" y="148"/>
                              </a:lnTo>
                              <a:lnTo>
                                <a:pt x="86" y="133"/>
                              </a:lnTo>
                              <a:lnTo>
                                <a:pt x="92" y="125"/>
                              </a:lnTo>
                              <a:lnTo>
                                <a:pt x="116" y="118"/>
                              </a:lnTo>
                              <a:lnTo>
                                <a:pt x="124" y="115"/>
                              </a:lnTo>
                              <a:lnTo>
                                <a:pt x="134" y="129"/>
                              </a:lnTo>
                              <a:lnTo>
                                <a:pt x="141" y="148"/>
                              </a:lnTo>
                              <a:lnTo>
                                <a:pt x="125" y="167"/>
                              </a:lnTo>
                              <a:lnTo>
                                <a:pt x="110" y="171"/>
                              </a:lnTo>
                              <a:lnTo>
                                <a:pt x="114" y="186"/>
                              </a:lnTo>
                              <a:lnTo>
                                <a:pt x="106" y="186"/>
                              </a:lnTo>
                              <a:lnTo>
                                <a:pt x="102" y="193"/>
                              </a:lnTo>
                              <a:lnTo>
                                <a:pt x="111" y="195"/>
                              </a:lnTo>
                              <a:lnTo>
                                <a:pt x="117" y="197"/>
                              </a:lnTo>
                              <a:lnTo>
                                <a:pt x="132" y="197"/>
                              </a:lnTo>
                              <a:lnTo>
                                <a:pt x="125" y="209"/>
                              </a:lnTo>
                              <a:lnTo>
                                <a:pt x="114" y="212"/>
                              </a:lnTo>
                              <a:lnTo>
                                <a:pt x="107" y="212"/>
                              </a:lnTo>
                              <a:lnTo>
                                <a:pt x="100" y="219"/>
                              </a:lnTo>
                              <a:lnTo>
                                <a:pt x="107" y="234"/>
                              </a:lnTo>
                              <a:lnTo>
                                <a:pt x="115" y="224"/>
                              </a:lnTo>
                              <a:lnTo>
                                <a:pt x="126" y="224"/>
                              </a:lnTo>
                              <a:lnTo>
                                <a:pt x="144" y="205"/>
                              </a:lnTo>
                              <a:lnTo>
                                <a:pt x="151" y="190"/>
                              </a:lnTo>
                              <a:lnTo>
                                <a:pt x="159" y="190"/>
                              </a:lnTo>
                              <a:lnTo>
                                <a:pt x="172" y="181"/>
                              </a:lnTo>
                              <a:lnTo>
                                <a:pt x="183" y="171"/>
                              </a:lnTo>
                              <a:lnTo>
                                <a:pt x="198" y="168"/>
                              </a:lnTo>
                              <a:lnTo>
                                <a:pt x="221" y="161"/>
                              </a:lnTo>
                              <a:lnTo>
                                <a:pt x="230" y="154"/>
                              </a:lnTo>
                              <a:lnTo>
                                <a:pt x="231" y="145"/>
                              </a:lnTo>
                              <a:lnTo>
                                <a:pt x="239" y="138"/>
                              </a:lnTo>
                              <a:lnTo>
                                <a:pt x="241" y="129"/>
                              </a:lnTo>
                              <a:lnTo>
                                <a:pt x="253" y="126"/>
                              </a:lnTo>
                              <a:lnTo>
                                <a:pt x="262" y="120"/>
                              </a:lnTo>
                              <a:lnTo>
                                <a:pt x="272" y="116"/>
                              </a:lnTo>
                              <a:lnTo>
                                <a:pt x="277" y="106"/>
                              </a:lnTo>
                              <a:lnTo>
                                <a:pt x="268" y="106"/>
                              </a:lnTo>
                              <a:lnTo>
                                <a:pt x="272" y="94"/>
                              </a:lnTo>
                              <a:lnTo>
                                <a:pt x="256" y="71"/>
                              </a:lnTo>
                              <a:lnTo>
                                <a:pt x="246" y="67"/>
                              </a:lnTo>
                              <a:lnTo>
                                <a:pt x="247" y="54"/>
                              </a:lnTo>
                              <a:lnTo>
                                <a:pt x="254" y="47"/>
                              </a:lnTo>
                              <a:lnTo>
                                <a:pt x="231" y="30"/>
                              </a:lnTo>
                              <a:lnTo>
                                <a:pt x="231" y="23"/>
                              </a:lnTo>
                              <a:lnTo>
                                <a:pt x="222" y="18"/>
                              </a:lnTo>
                              <a:lnTo>
                                <a:pt x="222" y="10"/>
                              </a:lnTo>
                              <a:lnTo>
                                <a:pt x="209" y="18"/>
                              </a:lnTo>
                              <a:lnTo>
                                <a:pt x="199" y="12"/>
                              </a:lnTo>
                              <a:lnTo>
                                <a:pt x="204" y="5"/>
                              </a:lnTo>
                              <a:lnTo>
                                <a:pt x="184" y="1"/>
                              </a:lnTo>
                              <a:lnTo>
                                <a:pt x="174" y="0"/>
                              </a:ln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36" name="Freeform 53"/>
                        <p:cNvSpPr>
                          <a:spLocks noChangeArrowheads="1"/>
                        </p:cNvSpPr>
                        <p:nvPr/>
                      </p:nvSpPr>
                      <p:spPr bwMode="auto">
                        <a:xfrm>
                          <a:off x="1640337" y="0"/>
                          <a:ext cx="1967294" cy="1597569"/>
                        </a:xfrm>
                        <a:custGeom>
                          <a:avLst/>
                          <a:gdLst>
                            <a:gd name="T0" fmla="*/ 2147483647 w 1062"/>
                            <a:gd name="T1" fmla="*/ 2147483647 h 750"/>
                            <a:gd name="T2" fmla="*/ 2147483647 w 1062"/>
                            <a:gd name="T3" fmla="*/ 2147483647 h 750"/>
                            <a:gd name="T4" fmla="*/ 2147483647 w 1062"/>
                            <a:gd name="T5" fmla="*/ 2147483647 h 750"/>
                            <a:gd name="T6" fmla="*/ 2147483647 w 1062"/>
                            <a:gd name="T7" fmla="*/ 2147483647 h 750"/>
                            <a:gd name="T8" fmla="*/ 2147483647 w 1062"/>
                            <a:gd name="T9" fmla="*/ 2147483647 h 750"/>
                            <a:gd name="T10" fmla="*/ 2147483647 w 1062"/>
                            <a:gd name="T11" fmla="*/ 2147483647 h 750"/>
                            <a:gd name="T12" fmla="*/ 2147483647 w 1062"/>
                            <a:gd name="T13" fmla="*/ 2147483647 h 750"/>
                            <a:gd name="T14" fmla="*/ 2147483647 w 1062"/>
                            <a:gd name="T15" fmla="*/ 2147483647 h 750"/>
                            <a:gd name="T16" fmla="*/ 2147483647 w 1062"/>
                            <a:gd name="T17" fmla="*/ 2147483647 h 750"/>
                            <a:gd name="T18" fmla="*/ 2147483647 w 1062"/>
                            <a:gd name="T19" fmla="*/ 2147483647 h 750"/>
                            <a:gd name="T20" fmla="*/ 2147483647 w 1062"/>
                            <a:gd name="T21" fmla="*/ 2147483647 h 750"/>
                            <a:gd name="T22" fmla="*/ 2147483647 w 1062"/>
                            <a:gd name="T23" fmla="*/ 2147483647 h 750"/>
                            <a:gd name="T24" fmla="*/ 2147483647 w 1062"/>
                            <a:gd name="T25" fmla="*/ 2147483647 h 750"/>
                            <a:gd name="T26" fmla="*/ 2147483647 w 1062"/>
                            <a:gd name="T27" fmla="*/ 2147483647 h 750"/>
                            <a:gd name="T28" fmla="*/ 2147483647 w 1062"/>
                            <a:gd name="T29" fmla="*/ 2147483647 h 750"/>
                            <a:gd name="T30" fmla="*/ 2147483647 w 1062"/>
                            <a:gd name="T31" fmla="*/ 2147483647 h 750"/>
                            <a:gd name="T32" fmla="*/ 2147483647 w 1062"/>
                            <a:gd name="T33" fmla="*/ 2147483647 h 750"/>
                            <a:gd name="T34" fmla="*/ 2147483647 w 1062"/>
                            <a:gd name="T35" fmla="*/ 2147483647 h 750"/>
                            <a:gd name="T36" fmla="*/ 2147483647 w 1062"/>
                            <a:gd name="T37" fmla="*/ 2147483647 h 750"/>
                            <a:gd name="T38" fmla="*/ 2147483647 w 1062"/>
                            <a:gd name="T39" fmla="*/ 2147483647 h 750"/>
                            <a:gd name="T40" fmla="*/ 2147483647 w 1062"/>
                            <a:gd name="T41" fmla="*/ 2147483647 h 750"/>
                            <a:gd name="T42" fmla="*/ 2147483647 w 1062"/>
                            <a:gd name="T43" fmla="*/ 2147483647 h 750"/>
                            <a:gd name="T44" fmla="*/ 2147483647 w 1062"/>
                            <a:gd name="T45" fmla="*/ 2147483647 h 750"/>
                            <a:gd name="T46" fmla="*/ 2147483647 w 1062"/>
                            <a:gd name="T47" fmla="*/ 2147483647 h 750"/>
                            <a:gd name="T48" fmla="*/ 2147483647 w 1062"/>
                            <a:gd name="T49" fmla="*/ 2147483647 h 750"/>
                            <a:gd name="T50" fmla="*/ 2147483647 w 1062"/>
                            <a:gd name="T51" fmla="*/ 2147483647 h 750"/>
                            <a:gd name="T52" fmla="*/ 2147483647 w 1062"/>
                            <a:gd name="T53" fmla="*/ 2147483647 h 750"/>
                            <a:gd name="T54" fmla="*/ 2147483647 w 1062"/>
                            <a:gd name="T55" fmla="*/ 2147483647 h 750"/>
                            <a:gd name="T56" fmla="*/ 2147483647 w 1062"/>
                            <a:gd name="T57" fmla="*/ 2147483647 h 750"/>
                            <a:gd name="T58" fmla="*/ 2147483647 w 1062"/>
                            <a:gd name="T59" fmla="*/ 2147483647 h 750"/>
                            <a:gd name="T60" fmla="*/ 2147483647 w 1062"/>
                            <a:gd name="T61" fmla="*/ 2147483647 h 750"/>
                            <a:gd name="T62" fmla="*/ 2147483647 w 1062"/>
                            <a:gd name="T63" fmla="*/ 2147483647 h 750"/>
                            <a:gd name="T64" fmla="*/ 2147483647 w 1062"/>
                            <a:gd name="T65" fmla="*/ 2147483647 h 750"/>
                            <a:gd name="T66" fmla="*/ 2147483647 w 1062"/>
                            <a:gd name="T67" fmla="*/ 2147483647 h 750"/>
                            <a:gd name="T68" fmla="*/ 2147483647 w 1062"/>
                            <a:gd name="T69" fmla="*/ 2147483647 h 750"/>
                            <a:gd name="T70" fmla="*/ 2147483647 w 1062"/>
                            <a:gd name="T71" fmla="*/ 2147483647 h 750"/>
                            <a:gd name="T72" fmla="*/ 2147483647 w 1062"/>
                            <a:gd name="T73" fmla="*/ 2147483647 h 750"/>
                            <a:gd name="T74" fmla="*/ 2147483647 w 1062"/>
                            <a:gd name="T75" fmla="*/ 2147483647 h 750"/>
                            <a:gd name="T76" fmla="*/ 2147483647 w 1062"/>
                            <a:gd name="T77" fmla="*/ 2147483647 h 750"/>
                            <a:gd name="T78" fmla="*/ 2147483647 w 1062"/>
                            <a:gd name="T79" fmla="*/ 2147483647 h 750"/>
                            <a:gd name="T80" fmla="*/ 2147483647 w 1062"/>
                            <a:gd name="T81" fmla="*/ 2147483647 h 750"/>
                            <a:gd name="T82" fmla="*/ 2147483647 w 1062"/>
                            <a:gd name="T83" fmla="*/ 2147483647 h 750"/>
                            <a:gd name="T84" fmla="*/ 2147483647 w 1062"/>
                            <a:gd name="T85" fmla="*/ 2147483647 h 750"/>
                            <a:gd name="T86" fmla="*/ 2147483647 w 1062"/>
                            <a:gd name="T87" fmla="*/ 2147483647 h 750"/>
                            <a:gd name="T88" fmla="*/ 2147483647 w 1062"/>
                            <a:gd name="T89" fmla="*/ 2147483647 h 750"/>
                            <a:gd name="T90" fmla="*/ 2147483647 w 1062"/>
                            <a:gd name="T91" fmla="*/ 2147483647 h 750"/>
                            <a:gd name="T92" fmla="*/ 2147483647 w 1062"/>
                            <a:gd name="T93" fmla="*/ 2147483647 h 750"/>
                            <a:gd name="T94" fmla="*/ 2147483647 w 1062"/>
                            <a:gd name="T95" fmla="*/ 2147483647 h 750"/>
                            <a:gd name="T96" fmla="*/ 2147483647 w 1062"/>
                            <a:gd name="T97" fmla="*/ 2147483647 h 750"/>
                            <a:gd name="T98" fmla="*/ 2147483647 w 1062"/>
                            <a:gd name="T99" fmla="*/ 2147483647 h 750"/>
                            <a:gd name="T100" fmla="*/ 2147483647 w 1062"/>
                            <a:gd name="T101" fmla="*/ 2147483647 h 75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062"/>
                            <a:gd name="T154" fmla="*/ 0 h 750"/>
                            <a:gd name="T155" fmla="*/ 1062 w 1062"/>
                            <a:gd name="T156" fmla="*/ 750 h 75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062" h="750">
                              <a:moveTo>
                                <a:pt x="2" y="475"/>
                              </a:moveTo>
                              <a:cubicBezTo>
                                <a:pt x="13" y="479"/>
                                <a:pt x="3" y="486"/>
                                <a:pt x="15" y="488"/>
                              </a:cubicBezTo>
                              <a:cubicBezTo>
                                <a:pt x="11" y="501"/>
                                <a:pt x="16" y="507"/>
                                <a:pt x="23" y="516"/>
                              </a:cubicBezTo>
                              <a:cubicBezTo>
                                <a:pt x="22" y="523"/>
                                <a:pt x="19" y="530"/>
                                <a:pt x="28" y="532"/>
                              </a:cubicBezTo>
                              <a:cubicBezTo>
                                <a:pt x="25" y="533"/>
                                <a:pt x="19" y="532"/>
                                <a:pt x="18" y="535"/>
                              </a:cubicBezTo>
                              <a:cubicBezTo>
                                <a:pt x="14" y="545"/>
                                <a:pt x="24" y="556"/>
                                <a:pt x="32" y="557"/>
                              </a:cubicBezTo>
                              <a:cubicBezTo>
                                <a:pt x="40" y="561"/>
                                <a:pt x="31" y="562"/>
                                <a:pt x="39" y="566"/>
                              </a:cubicBezTo>
                              <a:cubicBezTo>
                                <a:pt x="44" y="573"/>
                                <a:pt x="44" y="578"/>
                                <a:pt x="40" y="585"/>
                              </a:cubicBezTo>
                              <a:cubicBezTo>
                                <a:pt x="47" y="589"/>
                                <a:pt x="51" y="587"/>
                                <a:pt x="58" y="583"/>
                              </a:cubicBezTo>
                              <a:cubicBezTo>
                                <a:pt x="66" y="573"/>
                                <a:pt x="91" y="575"/>
                                <a:pt x="100" y="575"/>
                              </a:cubicBezTo>
                              <a:cubicBezTo>
                                <a:pt x="104" y="573"/>
                                <a:pt x="106" y="571"/>
                                <a:pt x="110" y="575"/>
                              </a:cubicBezTo>
                              <a:cubicBezTo>
                                <a:pt x="112" y="577"/>
                                <a:pt x="114" y="583"/>
                                <a:pt x="114" y="583"/>
                              </a:cubicBezTo>
                              <a:cubicBezTo>
                                <a:pt x="115" y="590"/>
                                <a:pt x="115" y="596"/>
                                <a:pt x="108" y="600"/>
                              </a:cubicBezTo>
                              <a:cubicBezTo>
                                <a:pt x="103" y="607"/>
                                <a:pt x="94" y="615"/>
                                <a:pt x="85" y="617"/>
                              </a:cubicBezTo>
                              <a:cubicBezTo>
                                <a:pt x="84" y="618"/>
                                <a:pt x="80" y="618"/>
                                <a:pt x="81" y="619"/>
                              </a:cubicBezTo>
                              <a:cubicBezTo>
                                <a:pt x="82" y="621"/>
                                <a:pt x="85" y="619"/>
                                <a:pt x="87" y="620"/>
                              </a:cubicBezTo>
                              <a:cubicBezTo>
                                <a:pt x="90" y="621"/>
                                <a:pt x="95" y="626"/>
                                <a:pt x="95" y="626"/>
                              </a:cubicBezTo>
                              <a:cubicBezTo>
                                <a:pt x="98" y="632"/>
                                <a:pt x="101" y="629"/>
                                <a:pt x="107" y="630"/>
                              </a:cubicBezTo>
                              <a:cubicBezTo>
                                <a:pt x="121" y="641"/>
                                <a:pt x="106" y="650"/>
                                <a:pt x="136" y="652"/>
                              </a:cubicBezTo>
                              <a:cubicBezTo>
                                <a:pt x="136" y="657"/>
                                <a:pt x="134" y="663"/>
                                <a:pt x="137" y="668"/>
                              </a:cubicBezTo>
                              <a:cubicBezTo>
                                <a:pt x="138" y="671"/>
                                <a:pt x="143" y="668"/>
                                <a:pt x="146" y="670"/>
                              </a:cubicBezTo>
                              <a:cubicBezTo>
                                <a:pt x="157" y="677"/>
                                <a:pt x="154" y="682"/>
                                <a:pt x="169" y="684"/>
                              </a:cubicBezTo>
                              <a:cubicBezTo>
                                <a:pt x="182" y="683"/>
                                <a:pt x="181" y="680"/>
                                <a:pt x="174" y="670"/>
                              </a:cubicBezTo>
                              <a:cubicBezTo>
                                <a:pt x="172" y="661"/>
                                <a:pt x="178" y="662"/>
                                <a:pt x="186" y="661"/>
                              </a:cubicBezTo>
                              <a:cubicBezTo>
                                <a:pt x="196" y="656"/>
                                <a:pt x="202" y="663"/>
                                <a:pt x="211" y="665"/>
                              </a:cubicBezTo>
                              <a:cubicBezTo>
                                <a:pt x="217" y="668"/>
                                <a:pt x="221" y="668"/>
                                <a:pt x="228" y="667"/>
                              </a:cubicBezTo>
                              <a:cubicBezTo>
                                <a:pt x="237" y="663"/>
                                <a:pt x="238" y="656"/>
                                <a:pt x="248" y="654"/>
                              </a:cubicBezTo>
                              <a:cubicBezTo>
                                <a:pt x="278" y="656"/>
                                <a:pt x="260" y="649"/>
                                <a:pt x="268" y="665"/>
                              </a:cubicBezTo>
                              <a:cubicBezTo>
                                <a:pt x="269" y="666"/>
                                <a:pt x="271" y="666"/>
                                <a:pt x="272" y="667"/>
                              </a:cubicBezTo>
                              <a:cubicBezTo>
                                <a:pt x="271" y="674"/>
                                <a:pt x="271" y="677"/>
                                <a:pt x="265" y="680"/>
                              </a:cubicBezTo>
                              <a:cubicBezTo>
                                <a:pt x="263" y="692"/>
                                <a:pt x="256" y="698"/>
                                <a:pt x="244" y="700"/>
                              </a:cubicBezTo>
                              <a:cubicBezTo>
                                <a:pt x="230" y="698"/>
                                <a:pt x="241" y="711"/>
                                <a:pt x="232" y="718"/>
                              </a:cubicBezTo>
                              <a:cubicBezTo>
                                <a:pt x="241" y="725"/>
                                <a:pt x="233" y="729"/>
                                <a:pt x="246" y="731"/>
                              </a:cubicBezTo>
                              <a:cubicBezTo>
                                <a:pt x="250" y="739"/>
                                <a:pt x="259" y="742"/>
                                <a:pt x="265" y="750"/>
                              </a:cubicBezTo>
                              <a:cubicBezTo>
                                <a:pt x="291" y="748"/>
                                <a:pt x="296" y="745"/>
                                <a:pt x="316" y="743"/>
                              </a:cubicBezTo>
                              <a:cubicBezTo>
                                <a:pt x="327" y="738"/>
                                <a:pt x="327" y="739"/>
                                <a:pt x="333" y="727"/>
                              </a:cubicBezTo>
                              <a:cubicBezTo>
                                <a:pt x="336" y="712"/>
                                <a:pt x="336" y="685"/>
                                <a:pt x="350" y="678"/>
                              </a:cubicBezTo>
                              <a:cubicBezTo>
                                <a:pt x="354" y="672"/>
                                <a:pt x="361" y="671"/>
                                <a:pt x="368" y="670"/>
                              </a:cubicBezTo>
                              <a:cubicBezTo>
                                <a:pt x="385" y="662"/>
                                <a:pt x="378" y="679"/>
                                <a:pt x="389" y="681"/>
                              </a:cubicBezTo>
                              <a:cubicBezTo>
                                <a:pt x="387" y="692"/>
                                <a:pt x="391" y="681"/>
                                <a:pt x="380" y="687"/>
                              </a:cubicBezTo>
                              <a:cubicBezTo>
                                <a:pt x="377" y="689"/>
                                <a:pt x="377" y="693"/>
                                <a:pt x="376" y="696"/>
                              </a:cubicBezTo>
                              <a:cubicBezTo>
                                <a:pt x="375" y="703"/>
                                <a:pt x="373" y="710"/>
                                <a:pt x="369" y="715"/>
                              </a:cubicBezTo>
                              <a:cubicBezTo>
                                <a:pt x="384" y="717"/>
                                <a:pt x="368" y="713"/>
                                <a:pt x="378" y="721"/>
                              </a:cubicBezTo>
                              <a:cubicBezTo>
                                <a:pt x="383" y="725"/>
                                <a:pt x="391" y="723"/>
                                <a:pt x="398" y="724"/>
                              </a:cubicBezTo>
                              <a:cubicBezTo>
                                <a:pt x="408" y="732"/>
                                <a:pt x="405" y="727"/>
                                <a:pt x="408" y="738"/>
                              </a:cubicBezTo>
                              <a:cubicBezTo>
                                <a:pt x="418" y="737"/>
                                <a:pt x="424" y="734"/>
                                <a:pt x="427" y="744"/>
                              </a:cubicBezTo>
                              <a:cubicBezTo>
                                <a:pt x="438" y="744"/>
                                <a:pt x="450" y="745"/>
                                <a:pt x="461" y="743"/>
                              </a:cubicBezTo>
                              <a:cubicBezTo>
                                <a:pt x="463" y="743"/>
                                <a:pt x="460" y="740"/>
                                <a:pt x="460" y="738"/>
                              </a:cubicBezTo>
                              <a:cubicBezTo>
                                <a:pt x="460" y="729"/>
                                <a:pt x="460" y="731"/>
                                <a:pt x="468" y="730"/>
                              </a:cubicBezTo>
                              <a:cubicBezTo>
                                <a:pt x="466" y="714"/>
                                <a:pt x="460" y="712"/>
                                <a:pt x="477" y="702"/>
                              </a:cubicBezTo>
                              <a:cubicBezTo>
                                <a:pt x="481" y="695"/>
                                <a:pt x="486" y="693"/>
                                <a:pt x="493" y="692"/>
                              </a:cubicBezTo>
                              <a:cubicBezTo>
                                <a:pt x="498" y="688"/>
                                <a:pt x="499" y="689"/>
                                <a:pt x="499" y="680"/>
                              </a:cubicBezTo>
                              <a:cubicBezTo>
                                <a:pt x="499" y="679"/>
                                <a:pt x="496" y="684"/>
                                <a:pt x="497" y="684"/>
                              </a:cubicBezTo>
                              <a:cubicBezTo>
                                <a:pt x="499" y="685"/>
                                <a:pt x="500" y="682"/>
                                <a:pt x="502" y="681"/>
                              </a:cubicBezTo>
                              <a:cubicBezTo>
                                <a:pt x="499" y="674"/>
                                <a:pt x="503" y="674"/>
                                <a:pt x="509" y="673"/>
                              </a:cubicBezTo>
                              <a:cubicBezTo>
                                <a:pt x="516" y="668"/>
                                <a:pt x="519" y="666"/>
                                <a:pt x="527" y="664"/>
                              </a:cubicBezTo>
                              <a:cubicBezTo>
                                <a:pt x="531" y="665"/>
                                <a:pt x="540" y="666"/>
                                <a:pt x="543" y="664"/>
                              </a:cubicBezTo>
                              <a:cubicBezTo>
                                <a:pt x="545" y="663"/>
                                <a:pt x="543" y="660"/>
                                <a:pt x="544" y="658"/>
                              </a:cubicBezTo>
                              <a:cubicBezTo>
                                <a:pt x="545" y="657"/>
                                <a:pt x="547" y="657"/>
                                <a:pt x="549" y="657"/>
                              </a:cubicBezTo>
                              <a:cubicBezTo>
                                <a:pt x="555" y="654"/>
                                <a:pt x="556" y="657"/>
                                <a:pt x="562" y="659"/>
                              </a:cubicBezTo>
                              <a:cubicBezTo>
                                <a:pt x="578" y="656"/>
                                <a:pt x="567" y="652"/>
                                <a:pt x="594" y="649"/>
                              </a:cubicBezTo>
                              <a:cubicBezTo>
                                <a:pt x="594" y="642"/>
                                <a:pt x="593" y="634"/>
                                <a:pt x="595" y="627"/>
                              </a:cubicBezTo>
                              <a:cubicBezTo>
                                <a:pt x="596" y="624"/>
                                <a:pt x="601" y="619"/>
                                <a:pt x="601" y="619"/>
                              </a:cubicBezTo>
                              <a:cubicBezTo>
                                <a:pt x="609" y="619"/>
                                <a:pt x="617" y="624"/>
                                <a:pt x="624" y="621"/>
                              </a:cubicBezTo>
                              <a:cubicBezTo>
                                <a:pt x="639" y="615"/>
                                <a:pt x="609" y="617"/>
                                <a:pt x="631" y="614"/>
                              </a:cubicBezTo>
                              <a:cubicBezTo>
                                <a:pt x="638" y="613"/>
                                <a:pt x="644" y="613"/>
                                <a:pt x="651" y="613"/>
                              </a:cubicBezTo>
                              <a:cubicBezTo>
                                <a:pt x="659" y="610"/>
                                <a:pt x="666" y="607"/>
                                <a:pt x="674" y="605"/>
                              </a:cubicBezTo>
                              <a:cubicBezTo>
                                <a:pt x="673" y="595"/>
                                <a:pt x="670" y="590"/>
                                <a:pt x="664" y="582"/>
                              </a:cubicBezTo>
                              <a:cubicBezTo>
                                <a:pt x="663" y="574"/>
                                <a:pt x="674" y="572"/>
                                <a:pt x="663" y="564"/>
                              </a:cubicBezTo>
                              <a:cubicBezTo>
                                <a:pt x="665" y="555"/>
                                <a:pt x="669" y="557"/>
                                <a:pt x="678" y="556"/>
                              </a:cubicBezTo>
                              <a:cubicBezTo>
                                <a:pt x="676" y="548"/>
                                <a:pt x="673" y="539"/>
                                <a:pt x="683" y="537"/>
                              </a:cubicBezTo>
                              <a:cubicBezTo>
                                <a:pt x="689" y="534"/>
                                <a:pt x="690" y="532"/>
                                <a:pt x="691" y="526"/>
                              </a:cubicBezTo>
                              <a:cubicBezTo>
                                <a:pt x="700" y="529"/>
                                <a:pt x="696" y="531"/>
                                <a:pt x="701" y="538"/>
                              </a:cubicBezTo>
                              <a:cubicBezTo>
                                <a:pt x="703" y="544"/>
                                <a:pt x="706" y="545"/>
                                <a:pt x="709" y="551"/>
                              </a:cubicBezTo>
                              <a:cubicBezTo>
                                <a:pt x="726" y="549"/>
                                <a:pt x="713" y="545"/>
                                <a:pt x="728" y="541"/>
                              </a:cubicBezTo>
                              <a:cubicBezTo>
                                <a:pt x="740" y="532"/>
                                <a:pt x="733" y="534"/>
                                <a:pt x="749" y="537"/>
                              </a:cubicBezTo>
                              <a:cubicBezTo>
                                <a:pt x="750" y="538"/>
                                <a:pt x="750" y="541"/>
                                <a:pt x="752" y="541"/>
                              </a:cubicBezTo>
                              <a:cubicBezTo>
                                <a:pt x="757" y="541"/>
                                <a:pt x="758" y="532"/>
                                <a:pt x="763" y="531"/>
                              </a:cubicBezTo>
                              <a:cubicBezTo>
                                <a:pt x="768" y="530"/>
                                <a:pt x="774" y="530"/>
                                <a:pt x="779" y="529"/>
                              </a:cubicBezTo>
                              <a:cubicBezTo>
                                <a:pt x="782" y="503"/>
                                <a:pt x="792" y="503"/>
                                <a:pt x="817" y="500"/>
                              </a:cubicBezTo>
                              <a:cubicBezTo>
                                <a:pt x="820" y="502"/>
                                <a:pt x="824" y="502"/>
                                <a:pt x="825" y="505"/>
                              </a:cubicBezTo>
                              <a:cubicBezTo>
                                <a:pt x="829" y="514"/>
                                <a:pt x="825" y="516"/>
                                <a:pt x="834" y="521"/>
                              </a:cubicBezTo>
                              <a:cubicBezTo>
                                <a:pt x="836" y="529"/>
                                <a:pt x="827" y="547"/>
                                <a:pt x="838" y="541"/>
                              </a:cubicBezTo>
                              <a:cubicBezTo>
                                <a:pt x="842" y="546"/>
                                <a:pt x="842" y="551"/>
                                <a:pt x="844" y="557"/>
                              </a:cubicBezTo>
                              <a:cubicBezTo>
                                <a:pt x="860" y="554"/>
                                <a:pt x="887" y="565"/>
                                <a:pt x="877" y="544"/>
                              </a:cubicBezTo>
                              <a:cubicBezTo>
                                <a:pt x="876" y="522"/>
                                <a:pt x="880" y="522"/>
                                <a:pt x="870" y="509"/>
                              </a:cubicBezTo>
                              <a:cubicBezTo>
                                <a:pt x="877" y="507"/>
                                <a:pt x="881" y="506"/>
                                <a:pt x="889" y="507"/>
                              </a:cubicBezTo>
                              <a:cubicBezTo>
                                <a:pt x="891" y="515"/>
                                <a:pt x="894" y="512"/>
                                <a:pt x="900" y="516"/>
                              </a:cubicBezTo>
                              <a:cubicBezTo>
                                <a:pt x="904" y="535"/>
                                <a:pt x="910" y="527"/>
                                <a:pt x="922" y="522"/>
                              </a:cubicBezTo>
                              <a:cubicBezTo>
                                <a:pt x="924" y="510"/>
                                <a:pt x="933" y="506"/>
                                <a:pt x="944" y="505"/>
                              </a:cubicBezTo>
                              <a:cubicBezTo>
                                <a:pt x="949" y="492"/>
                                <a:pt x="961" y="491"/>
                                <a:pt x="974" y="490"/>
                              </a:cubicBezTo>
                              <a:cubicBezTo>
                                <a:pt x="975" y="482"/>
                                <a:pt x="977" y="482"/>
                                <a:pt x="984" y="478"/>
                              </a:cubicBezTo>
                              <a:cubicBezTo>
                                <a:pt x="990" y="466"/>
                                <a:pt x="1011" y="471"/>
                                <a:pt x="1021" y="471"/>
                              </a:cubicBezTo>
                              <a:cubicBezTo>
                                <a:pt x="1024" y="464"/>
                                <a:pt x="1021" y="462"/>
                                <a:pt x="1030" y="461"/>
                              </a:cubicBezTo>
                              <a:cubicBezTo>
                                <a:pt x="1038" y="457"/>
                                <a:pt x="1045" y="461"/>
                                <a:pt x="1038" y="448"/>
                              </a:cubicBezTo>
                              <a:cubicBezTo>
                                <a:pt x="1036" y="444"/>
                                <a:pt x="1026" y="440"/>
                                <a:pt x="1026" y="440"/>
                              </a:cubicBezTo>
                              <a:cubicBezTo>
                                <a:pt x="1027" y="430"/>
                                <a:pt x="1030" y="430"/>
                                <a:pt x="1026" y="420"/>
                              </a:cubicBezTo>
                              <a:cubicBezTo>
                                <a:pt x="1024" y="415"/>
                                <a:pt x="1018" y="407"/>
                                <a:pt x="1018" y="407"/>
                              </a:cubicBezTo>
                              <a:cubicBezTo>
                                <a:pt x="1017" y="400"/>
                                <a:pt x="1014" y="400"/>
                                <a:pt x="1008" y="396"/>
                              </a:cubicBezTo>
                              <a:cubicBezTo>
                                <a:pt x="992" y="399"/>
                                <a:pt x="1001" y="403"/>
                                <a:pt x="985" y="405"/>
                              </a:cubicBezTo>
                              <a:cubicBezTo>
                                <a:pt x="973" y="403"/>
                                <a:pt x="980" y="394"/>
                                <a:pt x="969" y="392"/>
                              </a:cubicBezTo>
                              <a:cubicBezTo>
                                <a:pt x="968" y="386"/>
                                <a:pt x="965" y="383"/>
                                <a:pt x="964" y="377"/>
                              </a:cubicBezTo>
                              <a:cubicBezTo>
                                <a:pt x="974" y="358"/>
                                <a:pt x="964" y="354"/>
                                <a:pt x="949" y="345"/>
                              </a:cubicBezTo>
                              <a:cubicBezTo>
                                <a:pt x="948" y="337"/>
                                <a:pt x="943" y="331"/>
                                <a:pt x="952" y="326"/>
                              </a:cubicBezTo>
                              <a:cubicBezTo>
                                <a:pt x="968" y="331"/>
                                <a:pt x="963" y="334"/>
                                <a:pt x="984" y="335"/>
                              </a:cubicBezTo>
                              <a:cubicBezTo>
                                <a:pt x="994" y="333"/>
                                <a:pt x="980" y="323"/>
                                <a:pt x="992" y="317"/>
                              </a:cubicBezTo>
                              <a:cubicBezTo>
                                <a:pt x="997" y="310"/>
                                <a:pt x="997" y="304"/>
                                <a:pt x="989" y="301"/>
                              </a:cubicBezTo>
                              <a:cubicBezTo>
                                <a:pt x="982" y="291"/>
                                <a:pt x="1000" y="293"/>
                                <a:pt x="1006" y="293"/>
                              </a:cubicBezTo>
                              <a:cubicBezTo>
                                <a:pt x="1014" y="289"/>
                                <a:pt x="1016" y="282"/>
                                <a:pt x="1007" y="277"/>
                              </a:cubicBezTo>
                              <a:cubicBezTo>
                                <a:pt x="998" y="279"/>
                                <a:pt x="998" y="285"/>
                                <a:pt x="991" y="290"/>
                              </a:cubicBezTo>
                              <a:cubicBezTo>
                                <a:pt x="981" y="286"/>
                                <a:pt x="983" y="273"/>
                                <a:pt x="969" y="271"/>
                              </a:cubicBezTo>
                              <a:cubicBezTo>
                                <a:pt x="967" y="268"/>
                                <a:pt x="963" y="266"/>
                                <a:pt x="962" y="263"/>
                              </a:cubicBezTo>
                              <a:cubicBezTo>
                                <a:pt x="960" y="254"/>
                                <a:pt x="978" y="245"/>
                                <a:pt x="986" y="243"/>
                              </a:cubicBezTo>
                              <a:cubicBezTo>
                                <a:pt x="991" y="236"/>
                                <a:pt x="991" y="232"/>
                                <a:pt x="1000" y="228"/>
                              </a:cubicBezTo>
                              <a:cubicBezTo>
                                <a:pt x="1007" y="219"/>
                                <a:pt x="1010" y="210"/>
                                <a:pt x="1017" y="201"/>
                              </a:cubicBezTo>
                              <a:cubicBezTo>
                                <a:pt x="1031" y="203"/>
                                <a:pt x="1024" y="207"/>
                                <a:pt x="1030" y="217"/>
                              </a:cubicBezTo>
                              <a:cubicBezTo>
                                <a:pt x="1038" y="213"/>
                                <a:pt x="1034" y="205"/>
                                <a:pt x="1031" y="198"/>
                              </a:cubicBezTo>
                              <a:cubicBezTo>
                                <a:pt x="1029" y="190"/>
                                <a:pt x="1029" y="178"/>
                                <a:pt x="1037" y="174"/>
                              </a:cubicBezTo>
                              <a:cubicBezTo>
                                <a:pt x="1041" y="169"/>
                                <a:pt x="1043" y="168"/>
                                <a:pt x="1050" y="167"/>
                              </a:cubicBezTo>
                              <a:cubicBezTo>
                                <a:pt x="1049" y="158"/>
                                <a:pt x="1049" y="149"/>
                                <a:pt x="1044" y="142"/>
                              </a:cubicBezTo>
                              <a:cubicBezTo>
                                <a:pt x="1041" y="125"/>
                                <a:pt x="1043" y="111"/>
                                <a:pt x="1057" y="101"/>
                              </a:cubicBezTo>
                              <a:cubicBezTo>
                                <a:pt x="1056" y="94"/>
                                <a:pt x="1052" y="92"/>
                                <a:pt x="1058" y="89"/>
                              </a:cubicBezTo>
                              <a:cubicBezTo>
                                <a:pt x="1062" y="83"/>
                                <a:pt x="1060" y="82"/>
                                <a:pt x="1054" y="79"/>
                              </a:cubicBezTo>
                              <a:cubicBezTo>
                                <a:pt x="1050" y="74"/>
                                <a:pt x="1052" y="71"/>
                                <a:pt x="1046" y="68"/>
                              </a:cubicBezTo>
                              <a:cubicBezTo>
                                <a:pt x="1042" y="62"/>
                                <a:pt x="1040" y="60"/>
                                <a:pt x="1033" y="59"/>
                              </a:cubicBezTo>
                              <a:cubicBezTo>
                                <a:pt x="1031" y="58"/>
                                <a:pt x="1030" y="55"/>
                                <a:pt x="1028" y="56"/>
                              </a:cubicBezTo>
                              <a:cubicBezTo>
                                <a:pt x="1026" y="57"/>
                                <a:pt x="1028" y="60"/>
                                <a:pt x="1027" y="62"/>
                              </a:cubicBezTo>
                              <a:cubicBezTo>
                                <a:pt x="1024" y="69"/>
                                <a:pt x="1018" y="69"/>
                                <a:pt x="1011" y="70"/>
                              </a:cubicBezTo>
                              <a:cubicBezTo>
                                <a:pt x="999" y="75"/>
                                <a:pt x="992" y="75"/>
                                <a:pt x="978" y="76"/>
                              </a:cubicBezTo>
                              <a:cubicBezTo>
                                <a:pt x="975" y="85"/>
                                <a:pt x="970" y="82"/>
                                <a:pt x="961" y="81"/>
                              </a:cubicBezTo>
                              <a:cubicBezTo>
                                <a:pt x="950" y="77"/>
                                <a:pt x="954" y="63"/>
                                <a:pt x="944" y="56"/>
                              </a:cubicBezTo>
                              <a:cubicBezTo>
                                <a:pt x="942" y="50"/>
                                <a:pt x="939" y="47"/>
                                <a:pt x="945" y="44"/>
                              </a:cubicBezTo>
                              <a:cubicBezTo>
                                <a:pt x="943" y="31"/>
                                <a:pt x="934" y="36"/>
                                <a:pt x="923" y="34"/>
                              </a:cubicBezTo>
                              <a:cubicBezTo>
                                <a:pt x="917" y="38"/>
                                <a:pt x="919" y="43"/>
                                <a:pt x="912" y="44"/>
                              </a:cubicBezTo>
                              <a:cubicBezTo>
                                <a:pt x="905" y="35"/>
                                <a:pt x="898" y="32"/>
                                <a:pt x="887" y="31"/>
                              </a:cubicBezTo>
                              <a:cubicBezTo>
                                <a:pt x="894" y="27"/>
                                <a:pt x="891" y="24"/>
                                <a:pt x="897" y="19"/>
                              </a:cubicBezTo>
                              <a:cubicBezTo>
                                <a:pt x="899" y="14"/>
                                <a:pt x="902" y="11"/>
                                <a:pt x="903" y="6"/>
                              </a:cubicBezTo>
                              <a:cubicBezTo>
                                <a:pt x="898" y="3"/>
                                <a:pt x="894" y="2"/>
                                <a:pt x="889" y="0"/>
                              </a:cubicBezTo>
                              <a:cubicBezTo>
                                <a:pt x="883" y="1"/>
                                <a:pt x="877" y="0"/>
                                <a:pt x="872" y="2"/>
                              </a:cubicBezTo>
                              <a:cubicBezTo>
                                <a:pt x="867" y="4"/>
                                <a:pt x="871" y="11"/>
                                <a:pt x="862" y="13"/>
                              </a:cubicBezTo>
                              <a:cubicBezTo>
                                <a:pt x="855" y="17"/>
                                <a:pt x="858" y="20"/>
                                <a:pt x="851" y="24"/>
                              </a:cubicBezTo>
                              <a:cubicBezTo>
                                <a:pt x="845" y="32"/>
                                <a:pt x="854" y="31"/>
                                <a:pt x="860" y="30"/>
                              </a:cubicBezTo>
                              <a:cubicBezTo>
                                <a:pt x="875" y="32"/>
                                <a:pt x="863" y="44"/>
                                <a:pt x="874" y="49"/>
                              </a:cubicBezTo>
                              <a:cubicBezTo>
                                <a:pt x="878" y="54"/>
                                <a:pt x="874" y="61"/>
                                <a:pt x="869" y="65"/>
                              </a:cubicBezTo>
                              <a:cubicBezTo>
                                <a:pt x="866" y="71"/>
                                <a:pt x="862" y="70"/>
                                <a:pt x="857" y="73"/>
                              </a:cubicBezTo>
                              <a:cubicBezTo>
                                <a:pt x="856" y="76"/>
                                <a:pt x="856" y="81"/>
                                <a:pt x="854" y="84"/>
                              </a:cubicBezTo>
                              <a:cubicBezTo>
                                <a:pt x="852" y="87"/>
                                <a:pt x="848" y="92"/>
                                <a:pt x="848" y="92"/>
                              </a:cubicBezTo>
                              <a:cubicBezTo>
                                <a:pt x="847" y="98"/>
                                <a:pt x="845" y="105"/>
                                <a:pt x="842" y="111"/>
                              </a:cubicBezTo>
                              <a:cubicBezTo>
                                <a:pt x="840" y="120"/>
                                <a:pt x="833" y="124"/>
                                <a:pt x="828" y="132"/>
                              </a:cubicBezTo>
                              <a:cubicBezTo>
                                <a:pt x="826" y="141"/>
                                <a:pt x="831" y="139"/>
                                <a:pt x="840" y="141"/>
                              </a:cubicBezTo>
                              <a:cubicBezTo>
                                <a:pt x="836" y="160"/>
                                <a:pt x="843" y="145"/>
                                <a:pt x="822" y="152"/>
                              </a:cubicBezTo>
                              <a:cubicBezTo>
                                <a:pt x="820" y="153"/>
                                <a:pt x="822" y="159"/>
                                <a:pt x="810" y="161"/>
                              </a:cubicBezTo>
                              <a:cubicBezTo>
                                <a:pt x="803" y="164"/>
                                <a:pt x="801" y="170"/>
                                <a:pt x="794" y="173"/>
                              </a:cubicBezTo>
                              <a:cubicBezTo>
                                <a:pt x="775" y="172"/>
                                <a:pt x="760" y="175"/>
                                <a:pt x="743" y="168"/>
                              </a:cubicBezTo>
                              <a:cubicBezTo>
                                <a:pt x="741" y="181"/>
                                <a:pt x="734" y="191"/>
                                <a:pt x="726" y="202"/>
                              </a:cubicBezTo>
                              <a:cubicBezTo>
                                <a:pt x="725" y="217"/>
                                <a:pt x="727" y="220"/>
                                <a:pt x="719" y="230"/>
                              </a:cubicBezTo>
                              <a:cubicBezTo>
                                <a:pt x="718" y="236"/>
                                <a:pt x="715" y="239"/>
                                <a:pt x="718" y="244"/>
                              </a:cubicBezTo>
                              <a:cubicBezTo>
                                <a:pt x="711" y="246"/>
                                <a:pt x="696" y="256"/>
                                <a:pt x="712" y="259"/>
                              </a:cubicBezTo>
                              <a:cubicBezTo>
                                <a:pt x="719" y="264"/>
                                <a:pt x="724" y="259"/>
                                <a:pt x="726" y="269"/>
                              </a:cubicBezTo>
                              <a:cubicBezTo>
                                <a:pt x="733" y="255"/>
                                <a:pt x="722" y="260"/>
                                <a:pt x="750" y="259"/>
                              </a:cubicBezTo>
                              <a:cubicBezTo>
                                <a:pt x="758" y="243"/>
                                <a:pt x="770" y="258"/>
                                <a:pt x="775" y="265"/>
                              </a:cubicBezTo>
                              <a:cubicBezTo>
                                <a:pt x="776" y="266"/>
                                <a:pt x="778" y="267"/>
                                <a:pt x="779" y="268"/>
                              </a:cubicBezTo>
                              <a:cubicBezTo>
                                <a:pt x="784" y="256"/>
                                <a:pt x="786" y="254"/>
                                <a:pt x="800" y="252"/>
                              </a:cubicBezTo>
                              <a:cubicBezTo>
                                <a:pt x="808" y="248"/>
                                <a:pt x="814" y="249"/>
                                <a:pt x="824" y="250"/>
                              </a:cubicBezTo>
                              <a:cubicBezTo>
                                <a:pt x="826" y="258"/>
                                <a:pt x="830" y="258"/>
                                <a:pt x="838" y="259"/>
                              </a:cubicBezTo>
                              <a:cubicBezTo>
                                <a:pt x="839" y="261"/>
                                <a:pt x="839" y="264"/>
                                <a:pt x="840" y="266"/>
                              </a:cubicBezTo>
                              <a:cubicBezTo>
                                <a:pt x="841" y="267"/>
                                <a:pt x="844" y="266"/>
                                <a:pt x="845" y="268"/>
                              </a:cubicBezTo>
                              <a:cubicBezTo>
                                <a:pt x="854" y="284"/>
                                <a:pt x="834" y="277"/>
                                <a:pt x="863" y="279"/>
                              </a:cubicBezTo>
                              <a:cubicBezTo>
                                <a:pt x="866" y="284"/>
                                <a:pt x="866" y="289"/>
                                <a:pt x="869" y="294"/>
                              </a:cubicBezTo>
                              <a:cubicBezTo>
                                <a:pt x="870" y="302"/>
                                <a:pt x="874" y="311"/>
                                <a:pt x="863" y="309"/>
                              </a:cubicBezTo>
                              <a:cubicBezTo>
                                <a:pt x="844" y="299"/>
                                <a:pt x="811" y="307"/>
                                <a:pt x="797" y="307"/>
                              </a:cubicBezTo>
                              <a:cubicBezTo>
                                <a:pt x="795" y="313"/>
                                <a:pt x="797" y="318"/>
                                <a:pt x="790" y="315"/>
                              </a:cubicBezTo>
                              <a:cubicBezTo>
                                <a:pt x="781" y="317"/>
                                <a:pt x="787" y="327"/>
                                <a:pt x="778" y="328"/>
                              </a:cubicBezTo>
                              <a:cubicBezTo>
                                <a:pt x="771" y="329"/>
                                <a:pt x="765" y="329"/>
                                <a:pt x="758" y="329"/>
                              </a:cubicBezTo>
                              <a:cubicBezTo>
                                <a:pt x="753" y="332"/>
                                <a:pt x="750" y="334"/>
                                <a:pt x="746" y="339"/>
                              </a:cubicBezTo>
                              <a:cubicBezTo>
                                <a:pt x="744" y="350"/>
                                <a:pt x="742" y="359"/>
                                <a:pt x="730" y="361"/>
                              </a:cubicBezTo>
                              <a:cubicBezTo>
                                <a:pt x="724" y="376"/>
                                <a:pt x="717" y="373"/>
                                <a:pt x="700" y="374"/>
                              </a:cubicBezTo>
                              <a:cubicBezTo>
                                <a:pt x="693" y="377"/>
                                <a:pt x="684" y="373"/>
                                <a:pt x="678" y="377"/>
                              </a:cubicBezTo>
                              <a:cubicBezTo>
                                <a:pt x="675" y="379"/>
                                <a:pt x="679" y="385"/>
                                <a:pt x="677" y="388"/>
                              </a:cubicBezTo>
                              <a:cubicBezTo>
                                <a:pt x="676" y="390"/>
                                <a:pt x="673" y="389"/>
                                <a:pt x="671" y="389"/>
                              </a:cubicBezTo>
                              <a:cubicBezTo>
                                <a:pt x="663" y="393"/>
                                <a:pt x="668" y="397"/>
                                <a:pt x="656" y="399"/>
                              </a:cubicBezTo>
                              <a:cubicBezTo>
                                <a:pt x="650" y="415"/>
                                <a:pt x="632" y="406"/>
                                <a:pt x="618" y="404"/>
                              </a:cubicBezTo>
                              <a:cubicBezTo>
                                <a:pt x="611" y="401"/>
                                <a:pt x="608" y="396"/>
                                <a:pt x="602" y="392"/>
                              </a:cubicBezTo>
                              <a:cubicBezTo>
                                <a:pt x="595" y="392"/>
                                <a:pt x="588" y="391"/>
                                <a:pt x="581" y="393"/>
                              </a:cubicBezTo>
                              <a:cubicBezTo>
                                <a:pt x="578" y="394"/>
                                <a:pt x="572" y="411"/>
                                <a:pt x="568" y="414"/>
                              </a:cubicBezTo>
                              <a:cubicBezTo>
                                <a:pt x="566" y="424"/>
                                <a:pt x="561" y="429"/>
                                <a:pt x="568" y="433"/>
                              </a:cubicBezTo>
                              <a:cubicBezTo>
                                <a:pt x="574" y="440"/>
                                <a:pt x="571" y="444"/>
                                <a:pt x="581" y="446"/>
                              </a:cubicBezTo>
                              <a:cubicBezTo>
                                <a:pt x="582" y="453"/>
                                <a:pt x="587" y="466"/>
                                <a:pt x="576" y="462"/>
                              </a:cubicBezTo>
                              <a:cubicBezTo>
                                <a:pt x="566" y="467"/>
                                <a:pt x="568" y="471"/>
                                <a:pt x="554" y="472"/>
                              </a:cubicBezTo>
                              <a:cubicBezTo>
                                <a:pt x="547" y="476"/>
                                <a:pt x="547" y="482"/>
                                <a:pt x="539" y="484"/>
                              </a:cubicBezTo>
                              <a:cubicBezTo>
                                <a:pt x="531" y="495"/>
                                <a:pt x="536" y="501"/>
                                <a:pt x="520" y="503"/>
                              </a:cubicBezTo>
                              <a:cubicBezTo>
                                <a:pt x="514" y="510"/>
                                <a:pt x="494" y="512"/>
                                <a:pt x="494" y="512"/>
                              </a:cubicBezTo>
                              <a:cubicBezTo>
                                <a:pt x="491" y="535"/>
                                <a:pt x="458" y="525"/>
                                <a:pt x="442" y="515"/>
                              </a:cubicBezTo>
                              <a:cubicBezTo>
                                <a:pt x="427" y="517"/>
                                <a:pt x="411" y="519"/>
                                <a:pt x="396" y="522"/>
                              </a:cubicBezTo>
                              <a:cubicBezTo>
                                <a:pt x="384" y="528"/>
                                <a:pt x="372" y="530"/>
                                <a:pt x="359" y="534"/>
                              </a:cubicBezTo>
                              <a:cubicBezTo>
                                <a:pt x="357" y="536"/>
                                <a:pt x="330" y="547"/>
                                <a:pt x="323" y="548"/>
                              </a:cubicBezTo>
                              <a:cubicBezTo>
                                <a:pt x="319" y="551"/>
                                <a:pt x="315" y="554"/>
                                <a:pt x="310" y="556"/>
                              </a:cubicBezTo>
                              <a:cubicBezTo>
                                <a:pt x="296" y="545"/>
                                <a:pt x="274" y="544"/>
                                <a:pt x="256" y="543"/>
                              </a:cubicBezTo>
                              <a:cubicBezTo>
                                <a:pt x="235" y="532"/>
                                <a:pt x="225" y="525"/>
                                <a:pt x="200" y="524"/>
                              </a:cubicBezTo>
                              <a:cubicBezTo>
                                <a:pt x="192" y="520"/>
                                <a:pt x="195" y="514"/>
                                <a:pt x="189" y="509"/>
                              </a:cubicBezTo>
                              <a:cubicBezTo>
                                <a:pt x="182" y="504"/>
                                <a:pt x="172" y="500"/>
                                <a:pt x="164" y="499"/>
                              </a:cubicBezTo>
                              <a:cubicBezTo>
                                <a:pt x="142" y="488"/>
                                <a:pt x="109" y="493"/>
                                <a:pt x="90" y="493"/>
                              </a:cubicBezTo>
                              <a:cubicBezTo>
                                <a:pt x="76" y="487"/>
                                <a:pt x="64" y="487"/>
                                <a:pt x="48" y="486"/>
                              </a:cubicBezTo>
                              <a:cubicBezTo>
                                <a:pt x="40" y="483"/>
                                <a:pt x="39" y="481"/>
                                <a:pt x="29" y="480"/>
                              </a:cubicBezTo>
                              <a:cubicBezTo>
                                <a:pt x="23" y="477"/>
                                <a:pt x="18" y="476"/>
                                <a:pt x="12" y="472"/>
                              </a:cubicBezTo>
                              <a:cubicBezTo>
                                <a:pt x="0" y="476"/>
                                <a:pt x="8" y="485"/>
                                <a:pt x="2" y="475"/>
                              </a:cubicBez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37" name="Freeform 14"/>
                        <p:cNvSpPr>
                          <a:spLocks noChangeArrowheads="1"/>
                        </p:cNvSpPr>
                        <p:nvPr/>
                      </p:nvSpPr>
                      <p:spPr bwMode="auto">
                        <a:xfrm>
                          <a:off x="2160332" y="1411682"/>
                          <a:ext cx="228133" cy="411077"/>
                        </a:xfrm>
                        <a:custGeom>
                          <a:avLst/>
                          <a:gdLst>
                            <a:gd name="T0" fmla="*/ 2147483647 w 123"/>
                            <a:gd name="T1" fmla="*/ 2147483647 h 193"/>
                            <a:gd name="T2" fmla="*/ 2147483647 w 123"/>
                            <a:gd name="T3" fmla="*/ 2147483647 h 193"/>
                            <a:gd name="T4" fmla="*/ 2147483647 w 123"/>
                            <a:gd name="T5" fmla="*/ 2147483647 h 193"/>
                            <a:gd name="T6" fmla="*/ 2147483647 w 123"/>
                            <a:gd name="T7" fmla="*/ 2147483647 h 193"/>
                            <a:gd name="T8" fmla="*/ 2147483647 w 123"/>
                            <a:gd name="T9" fmla="*/ 2147483647 h 193"/>
                            <a:gd name="T10" fmla="*/ 2147483647 w 123"/>
                            <a:gd name="T11" fmla="*/ 2147483647 h 193"/>
                            <a:gd name="T12" fmla="*/ 2147483647 w 123"/>
                            <a:gd name="T13" fmla="*/ 2147483647 h 193"/>
                            <a:gd name="T14" fmla="*/ 2147483647 w 123"/>
                            <a:gd name="T15" fmla="*/ 2147483647 h 193"/>
                            <a:gd name="T16" fmla="*/ 2147483647 w 123"/>
                            <a:gd name="T17" fmla="*/ 2147483647 h 193"/>
                            <a:gd name="T18" fmla="*/ 2147483647 w 123"/>
                            <a:gd name="T19" fmla="*/ 2147483647 h 193"/>
                            <a:gd name="T20" fmla="*/ 2147483647 w 123"/>
                            <a:gd name="T21" fmla="*/ 2147483647 h 193"/>
                            <a:gd name="T22" fmla="*/ 2147483647 w 123"/>
                            <a:gd name="T23" fmla="*/ 2147483647 h 193"/>
                            <a:gd name="T24" fmla="*/ 2147483647 w 123"/>
                            <a:gd name="T25" fmla="*/ 2147483647 h 193"/>
                            <a:gd name="T26" fmla="*/ 2147483647 w 123"/>
                            <a:gd name="T27" fmla="*/ 0 h 193"/>
                            <a:gd name="T28" fmla="*/ 2147483647 w 123"/>
                            <a:gd name="T29" fmla="*/ 2147483647 h 193"/>
                            <a:gd name="T30" fmla="*/ 2147483647 w 123"/>
                            <a:gd name="T31" fmla="*/ 2147483647 h 193"/>
                            <a:gd name="T32" fmla="*/ 2147483647 w 123"/>
                            <a:gd name="T33" fmla="*/ 2147483647 h 193"/>
                            <a:gd name="T34" fmla="*/ 2147483647 w 123"/>
                            <a:gd name="T35" fmla="*/ 2147483647 h 193"/>
                            <a:gd name="T36" fmla="*/ 2147483647 w 123"/>
                            <a:gd name="T37" fmla="*/ 2147483647 h 193"/>
                            <a:gd name="T38" fmla="*/ 2147483647 w 123"/>
                            <a:gd name="T39" fmla="*/ 2147483647 h 193"/>
                            <a:gd name="T40" fmla="*/ 2147483647 w 123"/>
                            <a:gd name="T41" fmla="*/ 2147483647 h 193"/>
                            <a:gd name="T42" fmla="*/ 2147483647 w 123"/>
                            <a:gd name="T43" fmla="*/ 2147483647 h 193"/>
                            <a:gd name="T44" fmla="*/ 2147483647 w 123"/>
                            <a:gd name="T45" fmla="*/ 2147483647 h 193"/>
                            <a:gd name="T46" fmla="*/ 2147483647 w 123"/>
                            <a:gd name="T47" fmla="*/ 2147483647 h 193"/>
                            <a:gd name="T48" fmla="*/ 2147483647 w 123"/>
                            <a:gd name="T49" fmla="*/ 2147483647 h 193"/>
                            <a:gd name="T50" fmla="*/ 2147483647 w 123"/>
                            <a:gd name="T51" fmla="*/ 2147483647 h 193"/>
                            <a:gd name="T52" fmla="*/ 2147483647 w 123"/>
                            <a:gd name="T53" fmla="*/ 2147483647 h 193"/>
                            <a:gd name="T54" fmla="*/ 2147483647 w 123"/>
                            <a:gd name="T55" fmla="*/ 2147483647 h 193"/>
                            <a:gd name="T56" fmla="*/ 2147483647 w 123"/>
                            <a:gd name="T57" fmla="*/ 2147483647 h 193"/>
                            <a:gd name="T58" fmla="*/ 2147483647 w 123"/>
                            <a:gd name="T59" fmla="*/ 2147483647 h 193"/>
                            <a:gd name="T60" fmla="*/ 2147483647 w 123"/>
                            <a:gd name="T61" fmla="*/ 2147483647 h 193"/>
                            <a:gd name="T62" fmla="*/ 2147483647 w 123"/>
                            <a:gd name="T63" fmla="*/ 2147483647 h 193"/>
                            <a:gd name="T64" fmla="*/ 2147483647 w 123"/>
                            <a:gd name="T65" fmla="*/ 2147483647 h 193"/>
                            <a:gd name="T66" fmla="*/ 2147483647 w 123"/>
                            <a:gd name="T67" fmla="*/ 2147483647 h 193"/>
                            <a:gd name="T68" fmla="*/ 2147483647 w 123"/>
                            <a:gd name="T69" fmla="*/ 2147483647 h 193"/>
                            <a:gd name="T70" fmla="*/ 2147483647 w 123"/>
                            <a:gd name="T71" fmla="*/ 2147483647 h 193"/>
                            <a:gd name="T72" fmla="*/ 2147483647 w 123"/>
                            <a:gd name="T73" fmla="*/ 2147483647 h 193"/>
                            <a:gd name="T74" fmla="*/ 2147483647 w 123"/>
                            <a:gd name="T75" fmla="*/ 2147483647 h 193"/>
                            <a:gd name="T76" fmla="*/ 2147483647 w 123"/>
                            <a:gd name="T77" fmla="*/ 2147483647 h 193"/>
                            <a:gd name="T78" fmla="*/ 2147483647 w 123"/>
                            <a:gd name="T79" fmla="*/ 2147483647 h 193"/>
                            <a:gd name="T80" fmla="*/ 2147483647 w 123"/>
                            <a:gd name="T81" fmla="*/ 2147483647 h 193"/>
                            <a:gd name="T82" fmla="*/ 2147483647 w 123"/>
                            <a:gd name="T83" fmla="*/ 2147483647 h 193"/>
                            <a:gd name="T84" fmla="*/ 2147483647 w 123"/>
                            <a:gd name="T85" fmla="*/ 2147483647 h 193"/>
                            <a:gd name="T86" fmla="*/ 2147483647 w 123"/>
                            <a:gd name="T87" fmla="*/ 2147483647 h 193"/>
                            <a:gd name="T88" fmla="*/ 2147483647 w 123"/>
                            <a:gd name="T89" fmla="*/ 2147483647 h 193"/>
                            <a:gd name="T90" fmla="*/ 2147483647 w 123"/>
                            <a:gd name="T91" fmla="*/ 2147483647 h 193"/>
                            <a:gd name="T92" fmla="*/ 2147483647 w 123"/>
                            <a:gd name="T93" fmla="*/ 2147483647 h 193"/>
                            <a:gd name="T94" fmla="*/ 2147483647 w 123"/>
                            <a:gd name="T95" fmla="*/ 2147483647 h 193"/>
                            <a:gd name="T96" fmla="*/ 2147483647 w 123"/>
                            <a:gd name="T97" fmla="*/ 2147483647 h 193"/>
                            <a:gd name="T98" fmla="*/ 2147483647 w 123"/>
                            <a:gd name="T99" fmla="*/ 2147483647 h 193"/>
                            <a:gd name="T100" fmla="*/ 2147483647 w 123"/>
                            <a:gd name="T101" fmla="*/ 2147483647 h 193"/>
                            <a:gd name="T102" fmla="*/ 2147483647 w 123"/>
                            <a:gd name="T103" fmla="*/ 2147483647 h 193"/>
                            <a:gd name="T104" fmla="*/ 2147483647 w 123"/>
                            <a:gd name="T105" fmla="*/ 2147483647 h 193"/>
                            <a:gd name="T106" fmla="*/ 2147483647 w 123"/>
                            <a:gd name="T107" fmla="*/ 2147483647 h 193"/>
                            <a:gd name="T108" fmla="*/ 2147483647 w 123"/>
                            <a:gd name="T109" fmla="*/ 2147483647 h 193"/>
                            <a:gd name="T110" fmla="*/ 2147483647 w 123"/>
                            <a:gd name="T111" fmla="*/ 2147483647 h 193"/>
                            <a:gd name="T112" fmla="*/ 2147483647 w 123"/>
                            <a:gd name="T113" fmla="*/ 2147483647 h 193"/>
                            <a:gd name="T114" fmla="*/ 2147483647 w 123"/>
                            <a:gd name="T115" fmla="*/ 2147483647 h 193"/>
                            <a:gd name="T116" fmla="*/ 2147483647 w 123"/>
                            <a:gd name="T117" fmla="*/ 2147483647 h 193"/>
                            <a:gd name="T118" fmla="*/ 0 w 123"/>
                            <a:gd name="T119" fmla="*/ 2147483647 h 193"/>
                            <a:gd name="T120" fmla="*/ 2147483647 w 123"/>
                            <a:gd name="T121" fmla="*/ 2147483647 h 19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3"/>
                            <a:gd name="T184" fmla="*/ 0 h 193"/>
                            <a:gd name="T185" fmla="*/ 123 w 123"/>
                            <a:gd name="T186" fmla="*/ 193 h 19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3" h="193">
                              <a:moveTo>
                                <a:pt x="5" y="84"/>
                              </a:moveTo>
                              <a:lnTo>
                                <a:pt x="19" y="80"/>
                              </a:lnTo>
                              <a:lnTo>
                                <a:pt x="32" y="76"/>
                              </a:lnTo>
                              <a:lnTo>
                                <a:pt x="40" y="73"/>
                              </a:lnTo>
                              <a:lnTo>
                                <a:pt x="48" y="71"/>
                              </a:lnTo>
                              <a:lnTo>
                                <a:pt x="53" y="58"/>
                              </a:lnTo>
                              <a:lnTo>
                                <a:pt x="53" y="49"/>
                              </a:lnTo>
                              <a:lnTo>
                                <a:pt x="54" y="42"/>
                              </a:lnTo>
                              <a:lnTo>
                                <a:pt x="56" y="33"/>
                              </a:lnTo>
                              <a:lnTo>
                                <a:pt x="57" y="23"/>
                              </a:lnTo>
                              <a:lnTo>
                                <a:pt x="59" y="15"/>
                              </a:lnTo>
                              <a:lnTo>
                                <a:pt x="67" y="10"/>
                              </a:lnTo>
                              <a:lnTo>
                                <a:pt x="75" y="4"/>
                              </a:lnTo>
                              <a:lnTo>
                                <a:pt x="87" y="0"/>
                              </a:lnTo>
                              <a:lnTo>
                                <a:pt x="97" y="2"/>
                              </a:lnTo>
                              <a:lnTo>
                                <a:pt x="104" y="13"/>
                              </a:lnTo>
                              <a:lnTo>
                                <a:pt x="94" y="23"/>
                              </a:lnTo>
                              <a:lnTo>
                                <a:pt x="84" y="42"/>
                              </a:lnTo>
                              <a:lnTo>
                                <a:pt x="84" y="48"/>
                              </a:lnTo>
                              <a:lnTo>
                                <a:pt x="94" y="56"/>
                              </a:lnTo>
                              <a:lnTo>
                                <a:pt x="102" y="58"/>
                              </a:lnTo>
                              <a:lnTo>
                                <a:pt x="115" y="58"/>
                              </a:lnTo>
                              <a:lnTo>
                                <a:pt x="123" y="66"/>
                              </a:lnTo>
                              <a:lnTo>
                                <a:pt x="123" y="72"/>
                              </a:lnTo>
                              <a:lnTo>
                                <a:pt x="116" y="78"/>
                              </a:lnTo>
                              <a:lnTo>
                                <a:pt x="111" y="90"/>
                              </a:lnTo>
                              <a:lnTo>
                                <a:pt x="113" y="102"/>
                              </a:lnTo>
                              <a:lnTo>
                                <a:pt x="104" y="103"/>
                              </a:lnTo>
                              <a:lnTo>
                                <a:pt x="96" y="103"/>
                              </a:lnTo>
                              <a:lnTo>
                                <a:pt x="89" y="102"/>
                              </a:lnTo>
                              <a:lnTo>
                                <a:pt x="83" y="102"/>
                              </a:lnTo>
                              <a:lnTo>
                                <a:pt x="81" y="108"/>
                              </a:lnTo>
                              <a:lnTo>
                                <a:pt x="87" y="116"/>
                              </a:lnTo>
                              <a:lnTo>
                                <a:pt x="79" y="122"/>
                              </a:lnTo>
                              <a:lnTo>
                                <a:pt x="78" y="128"/>
                              </a:lnTo>
                              <a:lnTo>
                                <a:pt x="79" y="137"/>
                              </a:lnTo>
                              <a:lnTo>
                                <a:pt x="81" y="145"/>
                              </a:lnTo>
                              <a:lnTo>
                                <a:pt x="89" y="145"/>
                              </a:lnTo>
                              <a:lnTo>
                                <a:pt x="96" y="149"/>
                              </a:lnTo>
                              <a:lnTo>
                                <a:pt x="96" y="159"/>
                              </a:lnTo>
                              <a:lnTo>
                                <a:pt x="92" y="166"/>
                              </a:lnTo>
                              <a:lnTo>
                                <a:pt x="84" y="171"/>
                              </a:lnTo>
                              <a:lnTo>
                                <a:pt x="77" y="169"/>
                              </a:lnTo>
                              <a:lnTo>
                                <a:pt x="79" y="178"/>
                              </a:lnTo>
                              <a:lnTo>
                                <a:pt x="79" y="187"/>
                              </a:lnTo>
                              <a:lnTo>
                                <a:pt x="75" y="193"/>
                              </a:lnTo>
                              <a:lnTo>
                                <a:pt x="62" y="184"/>
                              </a:lnTo>
                              <a:lnTo>
                                <a:pt x="53" y="179"/>
                              </a:lnTo>
                              <a:lnTo>
                                <a:pt x="45" y="179"/>
                              </a:lnTo>
                              <a:lnTo>
                                <a:pt x="35" y="169"/>
                              </a:lnTo>
                              <a:lnTo>
                                <a:pt x="29" y="160"/>
                              </a:lnTo>
                              <a:lnTo>
                                <a:pt x="26" y="152"/>
                              </a:lnTo>
                              <a:lnTo>
                                <a:pt x="33" y="148"/>
                              </a:lnTo>
                              <a:lnTo>
                                <a:pt x="36" y="139"/>
                              </a:lnTo>
                              <a:lnTo>
                                <a:pt x="31" y="130"/>
                              </a:lnTo>
                              <a:lnTo>
                                <a:pt x="22" y="121"/>
                              </a:lnTo>
                              <a:lnTo>
                                <a:pt x="26" y="114"/>
                              </a:lnTo>
                              <a:lnTo>
                                <a:pt x="23" y="107"/>
                              </a:lnTo>
                              <a:lnTo>
                                <a:pt x="16" y="101"/>
                              </a:lnTo>
                              <a:lnTo>
                                <a:pt x="0" y="94"/>
                              </a:lnTo>
                              <a:lnTo>
                                <a:pt x="5" y="84"/>
                              </a:ln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38" name="Freeform 16"/>
                        <p:cNvSpPr>
                          <a:spLocks noChangeArrowheads="1"/>
                        </p:cNvSpPr>
                        <p:nvPr/>
                      </p:nvSpPr>
                      <p:spPr bwMode="auto">
                        <a:xfrm>
                          <a:off x="2183421" y="2146735"/>
                          <a:ext cx="409161" cy="398330"/>
                        </a:xfrm>
                        <a:custGeom>
                          <a:avLst/>
                          <a:gdLst>
                            <a:gd name="T0" fmla="*/ 2147483647 w 221"/>
                            <a:gd name="T1" fmla="*/ 2147483647 h 187"/>
                            <a:gd name="T2" fmla="*/ 2147483647 w 221"/>
                            <a:gd name="T3" fmla="*/ 2147483647 h 187"/>
                            <a:gd name="T4" fmla="*/ 2147483647 w 221"/>
                            <a:gd name="T5" fmla="*/ 2147483647 h 187"/>
                            <a:gd name="T6" fmla="*/ 2147483647 w 221"/>
                            <a:gd name="T7" fmla="*/ 2147483647 h 187"/>
                            <a:gd name="T8" fmla="*/ 2147483647 w 221"/>
                            <a:gd name="T9" fmla="*/ 2147483647 h 187"/>
                            <a:gd name="T10" fmla="*/ 2147483647 w 221"/>
                            <a:gd name="T11" fmla="*/ 2147483647 h 187"/>
                            <a:gd name="T12" fmla="*/ 2147483647 w 221"/>
                            <a:gd name="T13" fmla="*/ 2147483647 h 187"/>
                            <a:gd name="T14" fmla="*/ 2147483647 w 221"/>
                            <a:gd name="T15" fmla="*/ 2147483647 h 187"/>
                            <a:gd name="T16" fmla="*/ 2147483647 w 221"/>
                            <a:gd name="T17" fmla="*/ 2147483647 h 187"/>
                            <a:gd name="T18" fmla="*/ 2147483647 w 221"/>
                            <a:gd name="T19" fmla="*/ 2147483647 h 187"/>
                            <a:gd name="T20" fmla="*/ 2147483647 w 221"/>
                            <a:gd name="T21" fmla="*/ 2147483647 h 187"/>
                            <a:gd name="T22" fmla="*/ 2147483647 w 221"/>
                            <a:gd name="T23" fmla="*/ 2147483647 h 187"/>
                            <a:gd name="T24" fmla="*/ 2147483647 w 221"/>
                            <a:gd name="T25" fmla="*/ 2147483647 h 187"/>
                            <a:gd name="T26" fmla="*/ 2147483647 w 221"/>
                            <a:gd name="T27" fmla="*/ 0 h 187"/>
                            <a:gd name="T28" fmla="*/ 2147483647 w 221"/>
                            <a:gd name="T29" fmla="*/ 2147483647 h 187"/>
                            <a:gd name="T30" fmla="*/ 2147483647 w 221"/>
                            <a:gd name="T31" fmla="*/ 2147483647 h 187"/>
                            <a:gd name="T32" fmla="*/ 2147483647 w 221"/>
                            <a:gd name="T33" fmla="*/ 2147483647 h 187"/>
                            <a:gd name="T34" fmla="*/ 2147483647 w 221"/>
                            <a:gd name="T35" fmla="*/ 2147483647 h 187"/>
                            <a:gd name="T36" fmla="*/ 2147483647 w 221"/>
                            <a:gd name="T37" fmla="*/ 2147483647 h 187"/>
                            <a:gd name="T38" fmla="*/ 2147483647 w 221"/>
                            <a:gd name="T39" fmla="*/ 2147483647 h 187"/>
                            <a:gd name="T40" fmla="*/ 2147483647 w 221"/>
                            <a:gd name="T41" fmla="*/ 2147483647 h 187"/>
                            <a:gd name="T42" fmla="*/ 2147483647 w 221"/>
                            <a:gd name="T43" fmla="*/ 2147483647 h 187"/>
                            <a:gd name="T44" fmla="*/ 2147483647 w 221"/>
                            <a:gd name="T45" fmla="*/ 2147483647 h 187"/>
                            <a:gd name="T46" fmla="*/ 2147483647 w 221"/>
                            <a:gd name="T47" fmla="*/ 2147483647 h 187"/>
                            <a:gd name="T48" fmla="*/ 2147483647 w 221"/>
                            <a:gd name="T49" fmla="*/ 2147483647 h 187"/>
                            <a:gd name="T50" fmla="*/ 2147483647 w 221"/>
                            <a:gd name="T51" fmla="*/ 2147483647 h 187"/>
                            <a:gd name="T52" fmla="*/ 2147483647 w 221"/>
                            <a:gd name="T53" fmla="*/ 2147483647 h 187"/>
                            <a:gd name="T54" fmla="*/ 2147483647 w 221"/>
                            <a:gd name="T55" fmla="*/ 2147483647 h 187"/>
                            <a:gd name="T56" fmla="*/ 2147483647 w 221"/>
                            <a:gd name="T57" fmla="*/ 2147483647 h 187"/>
                            <a:gd name="T58" fmla="*/ 2147483647 w 221"/>
                            <a:gd name="T59" fmla="*/ 2147483647 h 187"/>
                            <a:gd name="T60" fmla="*/ 2147483647 w 221"/>
                            <a:gd name="T61" fmla="*/ 2147483647 h 187"/>
                            <a:gd name="T62" fmla="*/ 2147483647 w 221"/>
                            <a:gd name="T63" fmla="*/ 2147483647 h 187"/>
                            <a:gd name="T64" fmla="*/ 2147483647 w 221"/>
                            <a:gd name="T65" fmla="*/ 2147483647 h 187"/>
                            <a:gd name="T66" fmla="*/ 2147483647 w 221"/>
                            <a:gd name="T67" fmla="*/ 2147483647 h 187"/>
                            <a:gd name="T68" fmla="*/ 2147483647 w 221"/>
                            <a:gd name="T69" fmla="*/ 2147483647 h 187"/>
                            <a:gd name="T70" fmla="*/ 2147483647 w 221"/>
                            <a:gd name="T71" fmla="*/ 2147483647 h 187"/>
                            <a:gd name="T72" fmla="*/ 2147483647 w 221"/>
                            <a:gd name="T73" fmla="*/ 2147483647 h 187"/>
                            <a:gd name="T74" fmla="*/ 2147483647 w 221"/>
                            <a:gd name="T75" fmla="*/ 2147483647 h 187"/>
                            <a:gd name="T76" fmla="*/ 2147483647 w 221"/>
                            <a:gd name="T77" fmla="*/ 2147483647 h 187"/>
                            <a:gd name="T78" fmla="*/ 2147483647 w 221"/>
                            <a:gd name="T79" fmla="*/ 2147483647 h 187"/>
                            <a:gd name="T80" fmla="*/ 2147483647 w 221"/>
                            <a:gd name="T81" fmla="*/ 2147483647 h 187"/>
                            <a:gd name="T82" fmla="*/ 2147483647 w 221"/>
                            <a:gd name="T83" fmla="*/ 2147483647 h 187"/>
                            <a:gd name="T84" fmla="*/ 2147483647 w 221"/>
                            <a:gd name="T85" fmla="*/ 2147483647 h 187"/>
                            <a:gd name="T86" fmla="*/ 2147483647 w 221"/>
                            <a:gd name="T87" fmla="*/ 2147483647 h 187"/>
                            <a:gd name="T88" fmla="*/ 2147483647 w 221"/>
                            <a:gd name="T89" fmla="*/ 2147483647 h 187"/>
                            <a:gd name="T90" fmla="*/ 2147483647 w 221"/>
                            <a:gd name="T91" fmla="*/ 2147483647 h 187"/>
                            <a:gd name="T92" fmla="*/ 2147483647 w 221"/>
                            <a:gd name="T93" fmla="*/ 2147483647 h 187"/>
                            <a:gd name="T94" fmla="*/ 2147483647 w 221"/>
                            <a:gd name="T95" fmla="*/ 2147483647 h 187"/>
                            <a:gd name="T96" fmla="*/ 2147483647 w 221"/>
                            <a:gd name="T97" fmla="*/ 2147483647 h 187"/>
                            <a:gd name="T98" fmla="*/ 2147483647 w 221"/>
                            <a:gd name="T99" fmla="*/ 2147483647 h 18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21"/>
                            <a:gd name="T151" fmla="*/ 0 h 187"/>
                            <a:gd name="T152" fmla="*/ 221 w 221"/>
                            <a:gd name="T153" fmla="*/ 187 h 18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21" h="187">
                              <a:moveTo>
                                <a:pt x="0" y="115"/>
                              </a:moveTo>
                              <a:lnTo>
                                <a:pt x="15" y="102"/>
                              </a:lnTo>
                              <a:lnTo>
                                <a:pt x="16" y="94"/>
                              </a:lnTo>
                              <a:lnTo>
                                <a:pt x="9" y="90"/>
                              </a:lnTo>
                              <a:lnTo>
                                <a:pt x="14" y="85"/>
                              </a:lnTo>
                              <a:lnTo>
                                <a:pt x="21" y="84"/>
                              </a:lnTo>
                              <a:lnTo>
                                <a:pt x="33" y="79"/>
                              </a:lnTo>
                              <a:lnTo>
                                <a:pt x="43" y="85"/>
                              </a:lnTo>
                              <a:lnTo>
                                <a:pt x="57" y="84"/>
                              </a:lnTo>
                              <a:lnTo>
                                <a:pt x="62" y="89"/>
                              </a:lnTo>
                              <a:lnTo>
                                <a:pt x="67" y="96"/>
                              </a:lnTo>
                              <a:lnTo>
                                <a:pt x="77" y="95"/>
                              </a:lnTo>
                              <a:lnTo>
                                <a:pt x="84" y="91"/>
                              </a:lnTo>
                              <a:lnTo>
                                <a:pt x="88" y="85"/>
                              </a:lnTo>
                              <a:lnTo>
                                <a:pt x="94" y="77"/>
                              </a:lnTo>
                              <a:lnTo>
                                <a:pt x="99" y="68"/>
                              </a:lnTo>
                              <a:lnTo>
                                <a:pt x="101" y="60"/>
                              </a:lnTo>
                              <a:lnTo>
                                <a:pt x="108" y="60"/>
                              </a:lnTo>
                              <a:lnTo>
                                <a:pt x="114" y="60"/>
                              </a:lnTo>
                              <a:lnTo>
                                <a:pt x="121" y="49"/>
                              </a:lnTo>
                              <a:lnTo>
                                <a:pt x="126" y="37"/>
                              </a:lnTo>
                              <a:lnTo>
                                <a:pt x="135" y="33"/>
                              </a:lnTo>
                              <a:lnTo>
                                <a:pt x="141" y="27"/>
                              </a:lnTo>
                              <a:lnTo>
                                <a:pt x="142" y="19"/>
                              </a:lnTo>
                              <a:lnTo>
                                <a:pt x="140" y="13"/>
                              </a:lnTo>
                              <a:lnTo>
                                <a:pt x="134" y="7"/>
                              </a:lnTo>
                              <a:lnTo>
                                <a:pt x="143" y="3"/>
                              </a:lnTo>
                              <a:lnTo>
                                <a:pt x="156" y="0"/>
                              </a:lnTo>
                              <a:lnTo>
                                <a:pt x="165" y="7"/>
                              </a:lnTo>
                              <a:lnTo>
                                <a:pt x="171" y="7"/>
                              </a:lnTo>
                              <a:lnTo>
                                <a:pt x="180" y="20"/>
                              </a:lnTo>
                              <a:lnTo>
                                <a:pt x="186" y="21"/>
                              </a:lnTo>
                              <a:lnTo>
                                <a:pt x="195" y="20"/>
                              </a:lnTo>
                              <a:lnTo>
                                <a:pt x="202" y="20"/>
                              </a:lnTo>
                              <a:lnTo>
                                <a:pt x="202" y="29"/>
                              </a:lnTo>
                              <a:lnTo>
                                <a:pt x="210" y="30"/>
                              </a:lnTo>
                              <a:lnTo>
                                <a:pt x="218" y="32"/>
                              </a:lnTo>
                              <a:lnTo>
                                <a:pt x="221" y="40"/>
                              </a:lnTo>
                              <a:lnTo>
                                <a:pt x="221" y="47"/>
                              </a:lnTo>
                              <a:lnTo>
                                <a:pt x="221" y="54"/>
                              </a:lnTo>
                              <a:lnTo>
                                <a:pt x="219" y="63"/>
                              </a:lnTo>
                              <a:lnTo>
                                <a:pt x="213" y="61"/>
                              </a:lnTo>
                              <a:lnTo>
                                <a:pt x="207" y="61"/>
                              </a:lnTo>
                              <a:lnTo>
                                <a:pt x="200" y="61"/>
                              </a:lnTo>
                              <a:lnTo>
                                <a:pt x="194" y="68"/>
                              </a:lnTo>
                              <a:lnTo>
                                <a:pt x="187" y="75"/>
                              </a:lnTo>
                              <a:lnTo>
                                <a:pt x="178" y="72"/>
                              </a:lnTo>
                              <a:lnTo>
                                <a:pt x="171" y="72"/>
                              </a:lnTo>
                              <a:lnTo>
                                <a:pt x="165" y="73"/>
                              </a:lnTo>
                              <a:lnTo>
                                <a:pt x="156" y="76"/>
                              </a:lnTo>
                              <a:lnTo>
                                <a:pt x="149" y="77"/>
                              </a:lnTo>
                              <a:lnTo>
                                <a:pt x="139" y="79"/>
                              </a:lnTo>
                              <a:lnTo>
                                <a:pt x="146" y="87"/>
                              </a:lnTo>
                              <a:lnTo>
                                <a:pt x="146" y="94"/>
                              </a:lnTo>
                              <a:lnTo>
                                <a:pt x="146" y="104"/>
                              </a:lnTo>
                              <a:lnTo>
                                <a:pt x="140" y="105"/>
                              </a:lnTo>
                              <a:lnTo>
                                <a:pt x="144" y="113"/>
                              </a:lnTo>
                              <a:lnTo>
                                <a:pt x="151" y="109"/>
                              </a:lnTo>
                              <a:lnTo>
                                <a:pt x="156" y="116"/>
                              </a:lnTo>
                              <a:lnTo>
                                <a:pt x="163" y="119"/>
                              </a:lnTo>
                              <a:lnTo>
                                <a:pt x="162" y="125"/>
                              </a:lnTo>
                              <a:lnTo>
                                <a:pt x="165" y="132"/>
                              </a:lnTo>
                              <a:lnTo>
                                <a:pt x="175" y="132"/>
                              </a:lnTo>
                              <a:lnTo>
                                <a:pt x="175" y="141"/>
                              </a:lnTo>
                              <a:lnTo>
                                <a:pt x="181" y="143"/>
                              </a:lnTo>
                              <a:lnTo>
                                <a:pt x="179" y="153"/>
                              </a:lnTo>
                              <a:lnTo>
                                <a:pt x="179" y="161"/>
                              </a:lnTo>
                              <a:lnTo>
                                <a:pt x="180" y="169"/>
                              </a:lnTo>
                              <a:lnTo>
                                <a:pt x="174" y="180"/>
                              </a:lnTo>
                              <a:lnTo>
                                <a:pt x="173" y="187"/>
                              </a:lnTo>
                              <a:lnTo>
                                <a:pt x="166" y="187"/>
                              </a:lnTo>
                              <a:lnTo>
                                <a:pt x="160" y="185"/>
                              </a:lnTo>
                              <a:lnTo>
                                <a:pt x="154" y="183"/>
                              </a:lnTo>
                              <a:lnTo>
                                <a:pt x="145" y="176"/>
                              </a:lnTo>
                              <a:lnTo>
                                <a:pt x="145" y="170"/>
                              </a:lnTo>
                              <a:lnTo>
                                <a:pt x="140" y="163"/>
                              </a:lnTo>
                              <a:lnTo>
                                <a:pt x="140" y="154"/>
                              </a:lnTo>
                              <a:lnTo>
                                <a:pt x="133" y="146"/>
                              </a:lnTo>
                              <a:lnTo>
                                <a:pt x="122" y="144"/>
                              </a:lnTo>
                              <a:lnTo>
                                <a:pt x="112" y="147"/>
                              </a:lnTo>
                              <a:lnTo>
                                <a:pt x="108" y="141"/>
                              </a:lnTo>
                              <a:lnTo>
                                <a:pt x="99" y="138"/>
                              </a:lnTo>
                              <a:lnTo>
                                <a:pt x="91" y="138"/>
                              </a:lnTo>
                              <a:lnTo>
                                <a:pt x="92" y="144"/>
                              </a:lnTo>
                              <a:lnTo>
                                <a:pt x="96" y="155"/>
                              </a:lnTo>
                              <a:lnTo>
                                <a:pt x="86" y="157"/>
                              </a:lnTo>
                              <a:lnTo>
                                <a:pt x="74" y="151"/>
                              </a:lnTo>
                              <a:lnTo>
                                <a:pt x="65" y="158"/>
                              </a:lnTo>
                              <a:lnTo>
                                <a:pt x="60" y="165"/>
                              </a:lnTo>
                              <a:lnTo>
                                <a:pt x="54" y="165"/>
                              </a:lnTo>
                              <a:lnTo>
                                <a:pt x="52" y="158"/>
                              </a:lnTo>
                              <a:lnTo>
                                <a:pt x="44" y="164"/>
                              </a:lnTo>
                              <a:lnTo>
                                <a:pt x="38" y="158"/>
                              </a:lnTo>
                              <a:lnTo>
                                <a:pt x="38" y="150"/>
                              </a:lnTo>
                              <a:lnTo>
                                <a:pt x="31" y="147"/>
                              </a:lnTo>
                              <a:lnTo>
                                <a:pt x="25" y="146"/>
                              </a:lnTo>
                              <a:lnTo>
                                <a:pt x="15" y="144"/>
                              </a:lnTo>
                              <a:lnTo>
                                <a:pt x="13" y="137"/>
                              </a:lnTo>
                              <a:lnTo>
                                <a:pt x="13" y="128"/>
                              </a:lnTo>
                              <a:lnTo>
                                <a:pt x="4" y="124"/>
                              </a:lnTo>
                              <a:lnTo>
                                <a:pt x="0" y="115"/>
                              </a:ln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39" name="Freeform 18"/>
                        <p:cNvSpPr>
                          <a:spLocks noChangeArrowheads="1"/>
                        </p:cNvSpPr>
                        <p:nvPr/>
                      </p:nvSpPr>
                      <p:spPr bwMode="auto">
                        <a:xfrm>
                          <a:off x="2206513" y="1385127"/>
                          <a:ext cx="468271" cy="798785"/>
                        </a:xfrm>
                        <a:custGeom>
                          <a:avLst/>
                          <a:gdLst>
                            <a:gd name="T0" fmla="*/ 2147483647 w 253"/>
                            <a:gd name="T1" fmla="*/ 2147483647 h 375"/>
                            <a:gd name="T2" fmla="*/ 2147483647 w 253"/>
                            <a:gd name="T3" fmla="*/ 2147483647 h 375"/>
                            <a:gd name="T4" fmla="*/ 2147483647 w 253"/>
                            <a:gd name="T5" fmla="*/ 2147483647 h 375"/>
                            <a:gd name="T6" fmla="*/ 2147483647 w 253"/>
                            <a:gd name="T7" fmla="*/ 2147483647 h 375"/>
                            <a:gd name="T8" fmla="*/ 2147483647 w 253"/>
                            <a:gd name="T9" fmla="*/ 2147483647 h 375"/>
                            <a:gd name="T10" fmla="*/ 2147483647 w 253"/>
                            <a:gd name="T11" fmla="*/ 2147483647 h 375"/>
                            <a:gd name="T12" fmla="*/ 2147483647 w 253"/>
                            <a:gd name="T13" fmla="*/ 2147483647 h 375"/>
                            <a:gd name="T14" fmla="*/ 2147483647 w 253"/>
                            <a:gd name="T15" fmla="*/ 2147483647 h 375"/>
                            <a:gd name="T16" fmla="*/ 2147483647 w 253"/>
                            <a:gd name="T17" fmla="*/ 2147483647 h 375"/>
                            <a:gd name="T18" fmla="*/ 2147483647 w 253"/>
                            <a:gd name="T19" fmla="*/ 2147483647 h 375"/>
                            <a:gd name="T20" fmla="*/ 2147483647 w 253"/>
                            <a:gd name="T21" fmla="*/ 2147483647 h 375"/>
                            <a:gd name="T22" fmla="*/ 2147483647 w 253"/>
                            <a:gd name="T23" fmla="*/ 2147483647 h 375"/>
                            <a:gd name="T24" fmla="*/ 2147483647 w 253"/>
                            <a:gd name="T25" fmla="*/ 2147483647 h 375"/>
                            <a:gd name="T26" fmla="*/ 2147483647 w 253"/>
                            <a:gd name="T27" fmla="*/ 2147483647 h 375"/>
                            <a:gd name="T28" fmla="*/ 2147483647 w 253"/>
                            <a:gd name="T29" fmla="*/ 2147483647 h 375"/>
                            <a:gd name="T30" fmla="*/ 2147483647 w 253"/>
                            <a:gd name="T31" fmla="*/ 2147483647 h 375"/>
                            <a:gd name="T32" fmla="*/ 2147483647 w 253"/>
                            <a:gd name="T33" fmla="*/ 2147483647 h 375"/>
                            <a:gd name="T34" fmla="*/ 2147483647 w 253"/>
                            <a:gd name="T35" fmla="*/ 2147483647 h 375"/>
                            <a:gd name="T36" fmla="*/ 2147483647 w 253"/>
                            <a:gd name="T37" fmla="*/ 2147483647 h 375"/>
                            <a:gd name="T38" fmla="*/ 2147483647 w 253"/>
                            <a:gd name="T39" fmla="*/ 2147483647 h 375"/>
                            <a:gd name="T40" fmla="*/ 2147483647 w 253"/>
                            <a:gd name="T41" fmla="*/ 2147483647 h 375"/>
                            <a:gd name="T42" fmla="*/ 2147483647 w 253"/>
                            <a:gd name="T43" fmla="*/ 2147483647 h 375"/>
                            <a:gd name="T44" fmla="*/ 2147483647 w 253"/>
                            <a:gd name="T45" fmla="*/ 2147483647 h 375"/>
                            <a:gd name="T46" fmla="*/ 2147483647 w 253"/>
                            <a:gd name="T47" fmla="*/ 2147483647 h 375"/>
                            <a:gd name="T48" fmla="*/ 2147483647 w 253"/>
                            <a:gd name="T49" fmla="*/ 2147483647 h 375"/>
                            <a:gd name="T50" fmla="*/ 2147483647 w 253"/>
                            <a:gd name="T51" fmla="*/ 2147483647 h 375"/>
                            <a:gd name="T52" fmla="*/ 2147483647 w 253"/>
                            <a:gd name="T53" fmla="*/ 2147483647 h 375"/>
                            <a:gd name="T54" fmla="*/ 2147483647 w 253"/>
                            <a:gd name="T55" fmla="*/ 2147483647 h 375"/>
                            <a:gd name="T56" fmla="*/ 2147483647 w 253"/>
                            <a:gd name="T57" fmla="*/ 2147483647 h 375"/>
                            <a:gd name="T58" fmla="*/ 2147483647 w 253"/>
                            <a:gd name="T59" fmla="*/ 2147483647 h 375"/>
                            <a:gd name="T60" fmla="*/ 2147483647 w 253"/>
                            <a:gd name="T61" fmla="*/ 2147483647 h 375"/>
                            <a:gd name="T62" fmla="*/ 2147483647 w 253"/>
                            <a:gd name="T63" fmla="*/ 2147483647 h 375"/>
                            <a:gd name="T64" fmla="*/ 2147483647 w 253"/>
                            <a:gd name="T65" fmla="*/ 2147483647 h 375"/>
                            <a:gd name="T66" fmla="*/ 2147483647 w 253"/>
                            <a:gd name="T67" fmla="*/ 2147483647 h 375"/>
                            <a:gd name="T68" fmla="*/ 2147483647 w 253"/>
                            <a:gd name="T69" fmla="*/ 2147483647 h 375"/>
                            <a:gd name="T70" fmla="*/ 2147483647 w 253"/>
                            <a:gd name="T71" fmla="*/ 2147483647 h 375"/>
                            <a:gd name="T72" fmla="*/ 2147483647 w 253"/>
                            <a:gd name="T73" fmla="*/ 2147483647 h 375"/>
                            <a:gd name="T74" fmla="*/ 2147483647 w 253"/>
                            <a:gd name="T75" fmla="*/ 2147483647 h 375"/>
                            <a:gd name="T76" fmla="*/ 2147483647 w 253"/>
                            <a:gd name="T77" fmla="*/ 2147483647 h 375"/>
                            <a:gd name="T78" fmla="*/ 2147483647 w 253"/>
                            <a:gd name="T79" fmla="*/ 2147483647 h 375"/>
                            <a:gd name="T80" fmla="*/ 2147483647 w 253"/>
                            <a:gd name="T81" fmla="*/ 2147483647 h 375"/>
                            <a:gd name="T82" fmla="*/ 2147483647 w 253"/>
                            <a:gd name="T83" fmla="*/ 2147483647 h 375"/>
                            <a:gd name="T84" fmla="*/ 2147483647 w 253"/>
                            <a:gd name="T85" fmla="*/ 2147483647 h 375"/>
                            <a:gd name="T86" fmla="*/ 2147483647 w 253"/>
                            <a:gd name="T87" fmla="*/ 2147483647 h 375"/>
                            <a:gd name="T88" fmla="*/ 2147483647 w 253"/>
                            <a:gd name="T89" fmla="*/ 2147483647 h 375"/>
                            <a:gd name="T90" fmla="*/ 2147483647 w 253"/>
                            <a:gd name="T91" fmla="*/ 2147483647 h 375"/>
                            <a:gd name="T92" fmla="*/ 2147483647 w 253"/>
                            <a:gd name="T93" fmla="*/ 2147483647 h 375"/>
                            <a:gd name="T94" fmla="*/ 2147483647 w 253"/>
                            <a:gd name="T95" fmla="*/ 2147483647 h 375"/>
                            <a:gd name="T96" fmla="*/ 2147483647 w 253"/>
                            <a:gd name="T97" fmla="*/ 2147483647 h 375"/>
                            <a:gd name="T98" fmla="*/ 2147483647 w 253"/>
                            <a:gd name="T99" fmla="*/ 2147483647 h 37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53"/>
                            <a:gd name="T151" fmla="*/ 0 h 375"/>
                            <a:gd name="T152" fmla="*/ 253 w 253"/>
                            <a:gd name="T153" fmla="*/ 375 h 37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53" h="375">
                              <a:moveTo>
                                <a:pt x="99" y="83"/>
                              </a:moveTo>
                              <a:lnTo>
                                <a:pt x="107" y="82"/>
                              </a:lnTo>
                              <a:lnTo>
                                <a:pt x="113" y="82"/>
                              </a:lnTo>
                              <a:lnTo>
                                <a:pt x="120" y="91"/>
                              </a:lnTo>
                              <a:lnTo>
                                <a:pt x="131" y="91"/>
                              </a:lnTo>
                              <a:lnTo>
                                <a:pt x="141" y="91"/>
                              </a:lnTo>
                              <a:lnTo>
                                <a:pt x="152" y="93"/>
                              </a:lnTo>
                              <a:lnTo>
                                <a:pt x="151" y="83"/>
                              </a:lnTo>
                              <a:lnTo>
                                <a:pt x="151" y="75"/>
                              </a:lnTo>
                              <a:lnTo>
                                <a:pt x="160" y="79"/>
                              </a:lnTo>
                              <a:lnTo>
                                <a:pt x="163" y="71"/>
                              </a:lnTo>
                              <a:lnTo>
                                <a:pt x="156" y="65"/>
                              </a:lnTo>
                              <a:lnTo>
                                <a:pt x="156" y="57"/>
                              </a:lnTo>
                              <a:lnTo>
                                <a:pt x="164" y="50"/>
                              </a:lnTo>
                              <a:lnTo>
                                <a:pt x="173" y="46"/>
                              </a:lnTo>
                              <a:lnTo>
                                <a:pt x="181" y="36"/>
                              </a:lnTo>
                              <a:lnTo>
                                <a:pt x="188" y="36"/>
                              </a:lnTo>
                              <a:lnTo>
                                <a:pt x="191" y="23"/>
                              </a:lnTo>
                              <a:lnTo>
                                <a:pt x="221" y="10"/>
                              </a:lnTo>
                              <a:lnTo>
                                <a:pt x="232" y="15"/>
                              </a:lnTo>
                              <a:lnTo>
                                <a:pt x="233" y="6"/>
                              </a:lnTo>
                              <a:lnTo>
                                <a:pt x="240" y="2"/>
                              </a:lnTo>
                              <a:lnTo>
                                <a:pt x="247" y="0"/>
                              </a:lnTo>
                              <a:lnTo>
                                <a:pt x="253" y="10"/>
                              </a:lnTo>
                              <a:lnTo>
                                <a:pt x="250" y="19"/>
                              </a:lnTo>
                              <a:lnTo>
                                <a:pt x="247" y="27"/>
                              </a:lnTo>
                              <a:lnTo>
                                <a:pt x="241" y="35"/>
                              </a:lnTo>
                              <a:lnTo>
                                <a:pt x="238" y="43"/>
                              </a:lnTo>
                              <a:lnTo>
                                <a:pt x="238" y="53"/>
                              </a:lnTo>
                              <a:lnTo>
                                <a:pt x="231" y="58"/>
                              </a:lnTo>
                              <a:lnTo>
                                <a:pt x="223" y="63"/>
                              </a:lnTo>
                              <a:lnTo>
                                <a:pt x="224" y="69"/>
                              </a:lnTo>
                              <a:lnTo>
                                <a:pt x="223" y="78"/>
                              </a:lnTo>
                              <a:lnTo>
                                <a:pt x="228" y="83"/>
                              </a:lnTo>
                              <a:lnTo>
                                <a:pt x="233" y="92"/>
                              </a:lnTo>
                              <a:lnTo>
                                <a:pt x="236" y="100"/>
                              </a:lnTo>
                              <a:lnTo>
                                <a:pt x="229" y="106"/>
                              </a:lnTo>
                              <a:lnTo>
                                <a:pt x="222" y="117"/>
                              </a:lnTo>
                              <a:lnTo>
                                <a:pt x="218" y="124"/>
                              </a:lnTo>
                              <a:lnTo>
                                <a:pt x="220" y="134"/>
                              </a:lnTo>
                              <a:lnTo>
                                <a:pt x="220" y="142"/>
                              </a:lnTo>
                              <a:lnTo>
                                <a:pt x="223" y="155"/>
                              </a:lnTo>
                              <a:lnTo>
                                <a:pt x="221" y="164"/>
                              </a:lnTo>
                              <a:lnTo>
                                <a:pt x="223" y="173"/>
                              </a:lnTo>
                              <a:lnTo>
                                <a:pt x="228" y="178"/>
                              </a:lnTo>
                              <a:lnTo>
                                <a:pt x="228" y="192"/>
                              </a:lnTo>
                              <a:lnTo>
                                <a:pt x="220" y="205"/>
                              </a:lnTo>
                              <a:lnTo>
                                <a:pt x="216" y="215"/>
                              </a:lnTo>
                              <a:lnTo>
                                <a:pt x="214" y="222"/>
                              </a:lnTo>
                              <a:lnTo>
                                <a:pt x="214" y="237"/>
                              </a:lnTo>
                              <a:lnTo>
                                <a:pt x="223" y="247"/>
                              </a:lnTo>
                              <a:lnTo>
                                <a:pt x="223" y="254"/>
                              </a:lnTo>
                              <a:lnTo>
                                <a:pt x="227" y="262"/>
                              </a:lnTo>
                              <a:lnTo>
                                <a:pt x="238" y="276"/>
                              </a:lnTo>
                              <a:lnTo>
                                <a:pt x="243" y="282"/>
                              </a:lnTo>
                              <a:lnTo>
                                <a:pt x="248" y="288"/>
                              </a:lnTo>
                              <a:lnTo>
                                <a:pt x="249" y="298"/>
                              </a:lnTo>
                              <a:lnTo>
                                <a:pt x="249" y="304"/>
                              </a:lnTo>
                              <a:lnTo>
                                <a:pt x="234" y="306"/>
                              </a:lnTo>
                              <a:lnTo>
                                <a:pt x="229" y="301"/>
                              </a:lnTo>
                              <a:lnTo>
                                <a:pt x="221" y="303"/>
                              </a:lnTo>
                              <a:lnTo>
                                <a:pt x="214" y="306"/>
                              </a:lnTo>
                              <a:lnTo>
                                <a:pt x="199" y="303"/>
                              </a:lnTo>
                              <a:lnTo>
                                <a:pt x="188" y="302"/>
                              </a:lnTo>
                              <a:lnTo>
                                <a:pt x="177" y="301"/>
                              </a:lnTo>
                              <a:lnTo>
                                <a:pt x="181" y="308"/>
                              </a:lnTo>
                              <a:lnTo>
                                <a:pt x="189" y="310"/>
                              </a:lnTo>
                              <a:lnTo>
                                <a:pt x="193" y="318"/>
                              </a:lnTo>
                              <a:lnTo>
                                <a:pt x="205" y="321"/>
                              </a:lnTo>
                              <a:lnTo>
                                <a:pt x="211" y="322"/>
                              </a:lnTo>
                              <a:lnTo>
                                <a:pt x="213" y="333"/>
                              </a:lnTo>
                              <a:lnTo>
                                <a:pt x="204" y="335"/>
                              </a:lnTo>
                              <a:lnTo>
                                <a:pt x="193" y="335"/>
                              </a:lnTo>
                              <a:lnTo>
                                <a:pt x="186" y="335"/>
                              </a:lnTo>
                              <a:lnTo>
                                <a:pt x="177" y="345"/>
                              </a:lnTo>
                              <a:lnTo>
                                <a:pt x="185" y="351"/>
                              </a:lnTo>
                              <a:lnTo>
                                <a:pt x="185" y="362"/>
                              </a:lnTo>
                              <a:lnTo>
                                <a:pt x="185" y="372"/>
                              </a:lnTo>
                              <a:lnTo>
                                <a:pt x="171" y="375"/>
                              </a:lnTo>
                              <a:lnTo>
                                <a:pt x="161" y="364"/>
                              </a:lnTo>
                              <a:lnTo>
                                <a:pt x="151" y="359"/>
                              </a:lnTo>
                              <a:lnTo>
                                <a:pt x="146" y="353"/>
                              </a:lnTo>
                              <a:lnTo>
                                <a:pt x="133" y="350"/>
                              </a:lnTo>
                              <a:lnTo>
                                <a:pt x="126" y="347"/>
                              </a:lnTo>
                              <a:lnTo>
                                <a:pt x="112" y="349"/>
                              </a:lnTo>
                              <a:lnTo>
                                <a:pt x="102" y="347"/>
                              </a:lnTo>
                              <a:lnTo>
                                <a:pt x="95" y="339"/>
                              </a:lnTo>
                              <a:lnTo>
                                <a:pt x="87" y="341"/>
                              </a:lnTo>
                              <a:lnTo>
                                <a:pt x="85" y="333"/>
                              </a:lnTo>
                              <a:lnTo>
                                <a:pt x="77" y="339"/>
                              </a:lnTo>
                              <a:lnTo>
                                <a:pt x="71" y="331"/>
                              </a:lnTo>
                              <a:lnTo>
                                <a:pt x="71" y="324"/>
                              </a:lnTo>
                              <a:lnTo>
                                <a:pt x="64" y="324"/>
                              </a:lnTo>
                              <a:lnTo>
                                <a:pt x="53" y="324"/>
                              </a:lnTo>
                              <a:lnTo>
                                <a:pt x="43" y="328"/>
                              </a:lnTo>
                              <a:lnTo>
                                <a:pt x="31" y="322"/>
                              </a:lnTo>
                              <a:lnTo>
                                <a:pt x="24" y="318"/>
                              </a:lnTo>
                              <a:lnTo>
                                <a:pt x="14" y="321"/>
                              </a:lnTo>
                              <a:lnTo>
                                <a:pt x="7" y="324"/>
                              </a:lnTo>
                              <a:lnTo>
                                <a:pt x="0" y="318"/>
                              </a:lnTo>
                              <a:lnTo>
                                <a:pt x="8" y="315"/>
                              </a:lnTo>
                              <a:lnTo>
                                <a:pt x="19" y="315"/>
                              </a:lnTo>
                              <a:lnTo>
                                <a:pt x="25" y="311"/>
                              </a:lnTo>
                              <a:lnTo>
                                <a:pt x="26" y="301"/>
                              </a:lnTo>
                              <a:lnTo>
                                <a:pt x="18" y="293"/>
                              </a:lnTo>
                              <a:lnTo>
                                <a:pt x="20" y="287"/>
                              </a:lnTo>
                              <a:lnTo>
                                <a:pt x="27" y="283"/>
                              </a:lnTo>
                              <a:lnTo>
                                <a:pt x="38" y="283"/>
                              </a:lnTo>
                              <a:lnTo>
                                <a:pt x="45" y="283"/>
                              </a:lnTo>
                              <a:lnTo>
                                <a:pt x="54" y="286"/>
                              </a:lnTo>
                              <a:lnTo>
                                <a:pt x="53" y="280"/>
                              </a:lnTo>
                              <a:lnTo>
                                <a:pt x="51" y="273"/>
                              </a:lnTo>
                              <a:lnTo>
                                <a:pt x="50" y="261"/>
                              </a:lnTo>
                              <a:lnTo>
                                <a:pt x="56" y="255"/>
                              </a:lnTo>
                              <a:lnTo>
                                <a:pt x="54" y="248"/>
                              </a:lnTo>
                              <a:lnTo>
                                <a:pt x="54" y="240"/>
                              </a:lnTo>
                              <a:lnTo>
                                <a:pt x="47" y="234"/>
                              </a:lnTo>
                              <a:lnTo>
                                <a:pt x="54" y="229"/>
                              </a:lnTo>
                              <a:lnTo>
                                <a:pt x="56" y="222"/>
                              </a:lnTo>
                              <a:lnTo>
                                <a:pt x="52" y="213"/>
                              </a:lnTo>
                              <a:lnTo>
                                <a:pt x="60" y="212"/>
                              </a:lnTo>
                              <a:lnTo>
                                <a:pt x="69" y="212"/>
                              </a:lnTo>
                              <a:lnTo>
                                <a:pt x="77" y="219"/>
                              </a:lnTo>
                              <a:lnTo>
                                <a:pt x="83" y="220"/>
                              </a:lnTo>
                              <a:lnTo>
                                <a:pt x="94" y="221"/>
                              </a:lnTo>
                              <a:lnTo>
                                <a:pt x="109" y="221"/>
                              </a:lnTo>
                              <a:lnTo>
                                <a:pt x="110" y="214"/>
                              </a:lnTo>
                              <a:lnTo>
                                <a:pt x="101" y="211"/>
                              </a:lnTo>
                              <a:lnTo>
                                <a:pt x="101" y="204"/>
                              </a:lnTo>
                              <a:lnTo>
                                <a:pt x="107" y="206"/>
                              </a:lnTo>
                              <a:lnTo>
                                <a:pt x="116" y="206"/>
                              </a:lnTo>
                              <a:lnTo>
                                <a:pt x="126" y="202"/>
                              </a:lnTo>
                              <a:lnTo>
                                <a:pt x="136" y="204"/>
                              </a:lnTo>
                              <a:lnTo>
                                <a:pt x="145" y="201"/>
                              </a:lnTo>
                              <a:lnTo>
                                <a:pt x="142" y="190"/>
                              </a:lnTo>
                              <a:lnTo>
                                <a:pt x="139" y="183"/>
                              </a:lnTo>
                              <a:lnTo>
                                <a:pt x="142" y="175"/>
                              </a:lnTo>
                              <a:lnTo>
                                <a:pt x="149" y="171"/>
                              </a:lnTo>
                              <a:lnTo>
                                <a:pt x="147" y="159"/>
                              </a:lnTo>
                              <a:lnTo>
                                <a:pt x="145" y="153"/>
                              </a:lnTo>
                              <a:lnTo>
                                <a:pt x="145" y="146"/>
                              </a:lnTo>
                              <a:lnTo>
                                <a:pt x="137" y="149"/>
                              </a:lnTo>
                              <a:lnTo>
                                <a:pt x="130" y="143"/>
                              </a:lnTo>
                              <a:lnTo>
                                <a:pt x="123" y="143"/>
                              </a:lnTo>
                              <a:lnTo>
                                <a:pt x="109" y="130"/>
                              </a:lnTo>
                              <a:lnTo>
                                <a:pt x="87" y="126"/>
                              </a:lnTo>
                              <a:lnTo>
                                <a:pt x="91" y="116"/>
                              </a:lnTo>
                              <a:lnTo>
                                <a:pt x="88" y="108"/>
                              </a:lnTo>
                              <a:lnTo>
                                <a:pt x="88" y="100"/>
                              </a:lnTo>
                              <a:lnTo>
                                <a:pt x="89" y="92"/>
                              </a:lnTo>
                              <a:lnTo>
                                <a:pt x="99" y="83"/>
                              </a:ln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40" name="Freeform 19"/>
                        <p:cNvSpPr>
                          <a:spLocks noChangeArrowheads="1"/>
                        </p:cNvSpPr>
                        <p:nvPr/>
                      </p:nvSpPr>
                      <p:spPr bwMode="auto">
                        <a:xfrm>
                          <a:off x="2600895" y="1255536"/>
                          <a:ext cx="326035" cy="639453"/>
                        </a:xfrm>
                        <a:custGeom>
                          <a:avLst/>
                          <a:gdLst>
                            <a:gd name="T0" fmla="*/ 2147483647 w 176"/>
                            <a:gd name="T1" fmla="*/ 2147483647 h 300"/>
                            <a:gd name="T2" fmla="*/ 2147483647 w 176"/>
                            <a:gd name="T3" fmla="*/ 2147483647 h 300"/>
                            <a:gd name="T4" fmla="*/ 2147483647 w 176"/>
                            <a:gd name="T5" fmla="*/ 2147483647 h 300"/>
                            <a:gd name="T6" fmla="*/ 2147483647 w 176"/>
                            <a:gd name="T7" fmla="*/ 2147483647 h 300"/>
                            <a:gd name="T8" fmla="*/ 2147483647 w 176"/>
                            <a:gd name="T9" fmla="*/ 2147483647 h 300"/>
                            <a:gd name="T10" fmla="*/ 2147483647 w 176"/>
                            <a:gd name="T11" fmla="*/ 2147483647 h 300"/>
                            <a:gd name="T12" fmla="*/ 2147483647 w 176"/>
                            <a:gd name="T13" fmla="*/ 2147483647 h 300"/>
                            <a:gd name="T14" fmla="*/ 2147483647 w 176"/>
                            <a:gd name="T15" fmla="*/ 2147483647 h 300"/>
                            <a:gd name="T16" fmla="*/ 2147483647 w 176"/>
                            <a:gd name="T17" fmla="*/ 0 h 300"/>
                            <a:gd name="T18" fmla="*/ 2147483647 w 176"/>
                            <a:gd name="T19" fmla="*/ 2147483647 h 300"/>
                            <a:gd name="T20" fmla="*/ 2147483647 w 176"/>
                            <a:gd name="T21" fmla="*/ 2147483647 h 300"/>
                            <a:gd name="T22" fmla="*/ 2147483647 w 176"/>
                            <a:gd name="T23" fmla="*/ 2147483647 h 300"/>
                            <a:gd name="T24" fmla="*/ 2147483647 w 176"/>
                            <a:gd name="T25" fmla="*/ 2147483647 h 300"/>
                            <a:gd name="T26" fmla="*/ 2147483647 w 176"/>
                            <a:gd name="T27" fmla="*/ 2147483647 h 300"/>
                            <a:gd name="T28" fmla="*/ 2147483647 w 176"/>
                            <a:gd name="T29" fmla="*/ 2147483647 h 300"/>
                            <a:gd name="T30" fmla="*/ 2147483647 w 176"/>
                            <a:gd name="T31" fmla="*/ 2147483647 h 300"/>
                            <a:gd name="T32" fmla="*/ 2147483647 w 176"/>
                            <a:gd name="T33" fmla="*/ 2147483647 h 300"/>
                            <a:gd name="T34" fmla="*/ 2147483647 w 176"/>
                            <a:gd name="T35" fmla="*/ 2147483647 h 300"/>
                            <a:gd name="T36" fmla="*/ 2147483647 w 176"/>
                            <a:gd name="T37" fmla="*/ 2147483647 h 300"/>
                            <a:gd name="T38" fmla="*/ 2147483647 w 176"/>
                            <a:gd name="T39" fmla="*/ 2147483647 h 300"/>
                            <a:gd name="T40" fmla="*/ 2147483647 w 176"/>
                            <a:gd name="T41" fmla="*/ 2147483647 h 300"/>
                            <a:gd name="T42" fmla="*/ 2147483647 w 176"/>
                            <a:gd name="T43" fmla="*/ 2147483647 h 300"/>
                            <a:gd name="T44" fmla="*/ 2147483647 w 176"/>
                            <a:gd name="T45" fmla="*/ 2147483647 h 300"/>
                            <a:gd name="T46" fmla="*/ 2147483647 w 176"/>
                            <a:gd name="T47" fmla="*/ 2147483647 h 300"/>
                            <a:gd name="T48" fmla="*/ 2147483647 w 176"/>
                            <a:gd name="T49" fmla="*/ 2147483647 h 300"/>
                            <a:gd name="T50" fmla="*/ 2147483647 w 176"/>
                            <a:gd name="T51" fmla="*/ 2147483647 h 300"/>
                            <a:gd name="T52" fmla="*/ 2147483647 w 176"/>
                            <a:gd name="T53" fmla="*/ 2147483647 h 300"/>
                            <a:gd name="T54" fmla="*/ 2147483647 w 176"/>
                            <a:gd name="T55" fmla="*/ 2147483647 h 300"/>
                            <a:gd name="T56" fmla="*/ 2147483647 w 176"/>
                            <a:gd name="T57" fmla="*/ 2147483647 h 300"/>
                            <a:gd name="T58" fmla="*/ 2147483647 w 176"/>
                            <a:gd name="T59" fmla="*/ 2147483647 h 300"/>
                            <a:gd name="T60" fmla="*/ 2147483647 w 176"/>
                            <a:gd name="T61" fmla="*/ 2147483647 h 300"/>
                            <a:gd name="T62" fmla="*/ 2147483647 w 176"/>
                            <a:gd name="T63" fmla="*/ 2147483647 h 300"/>
                            <a:gd name="T64" fmla="*/ 2147483647 w 176"/>
                            <a:gd name="T65" fmla="*/ 2147483647 h 300"/>
                            <a:gd name="T66" fmla="*/ 0 w 176"/>
                            <a:gd name="T67" fmla="*/ 2147483647 h 300"/>
                            <a:gd name="T68" fmla="*/ 2147483647 w 176"/>
                            <a:gd name="T69" fmla="*/ 2147483647 h 300"/>
                            <a:gd name="T70" fmla="*/ 2147483647 w 176"/>
                            <a:gd name="T71" fmla="*/ 2147483647 h 300"/>
                            <a:gd name="T72" fmla="*/ 2147483647 w 176"/>
                            <a:gd name="T73" fmla="*/ 2147483647 h 300"/>
                            <a:gd name="T74" fmla="*/ 2147483647 w 176"/>
                            <a:gd name="T75" fmla="*/ 2147483647 h 300"/>
                            <a:gd name="T76" fmla="*/ 2147483647 w 176"/>
                            <a:gd name="T77" fmla="*/ 2147483647 h 300"/>
                            <a:gd name="T78" fmla="*/ 2147483647 w 176"/>
                            <a:gd name="T79" fmla="*/ 2147483647 h 300"/>
                            <a:gd name="T80" fmla="*/ 2147483647 w 176"/>
                            <a:gd name="T81" fmla="*/ 2147483647 h 300"/>
                            <a:gd name="T82" fmla="*/ 2147483647 w 176"/>
                            <a:gd name="T83" fmla="*/ 2147483647 h 300"/>
                            <a:gd name="T84" fmla="*/ 2147483647 w 176"/>
                            <a:gd name="T85" fmla="*/ 2147483647 h 300"/>
                            <a:gd name="T86" fmla="*/ 2147483647 w 176"/>
                            <a:gd name="T87" fmla="*/ 2147483647 h 300"/>
                            <a:gd name="T88" fmla="*/ 2147483647 w 176"/>
                            <a:gd name="T89" fmla="*/ 2147483647 h 3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76"/>
                            <a:gd name="T136" fmla="*/ 0 h 300"/>
                            <a:gd name="T137" fmla="*/ 176 w 176"/>
                            <a:gd name="T138" fmla="*/ 300 h 30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76" h="300">
                              <a:moveTo>
                                <a:pt x="40" y="68"/>
                              </a:moveTo>
                              <a:lnTo>
                                <a:pt x="47" y="63"/>
                              </a:lnTo>
                              <a:lnTo>
                                <a:pt x="56" y="58"/>
                              </a:lnTo>
                              <a:lnTo>
                                <a:pt x="62" y="58"/>
                              </a:lnTo>
                              <a:lnTo>
                                <a:pt x="67" y="63"/>
                              </a:lnTo>
                              <a:lnTo>
                                <a:pt x="74" y="45"/>
                              </a:lnTo>
                              <a:lnTo>
                                <a:pt x="75" y="36"/>
                              </a:lnTo>
                              <a:lnTo>
                                <a:pt x="76" y="30"/>
                              </a:lnTo>
                              <a:lnTo>
                                <a:pt x="82" y="24"/>
                              </a:lnTo>
                              <a:lnTo>
                                <a:pt x="92" y="27"/>
                              </a:lnTo>
                              <a:lnTo>
                                <a:pt x="101" y="32"/>
                              </a:lnTo>
                              <a:lnTo>
                                <a:pt x="107" y="22"/>
                              </a:lnTo>
                              <a:lnTo>
                                <a:pt x="113" y="22"/>
                              </a:lnTo>
                              <a:lnTo>
                                <a:pt x="122" y="22"/>
                              </a:lnTo>
                              <a:lnTo>
                                <a:pt x="130" y="22"/>
                              </a:lnTo>
                              <a:lnTo>
                                <a:pt x="143" y="15"/>
                              </a:lnTo>
                              <a:lnTo>
                                <a:pt x="152" y="11"/>
                              </a:lnTo>
                              <a:lnTo>
                                <a:pt x="152" y="0"/>
                              </a:lnTo>
                              <a:lnTo>
                                <a:pt x="159" y="9"/>
                              </a:lnTo>
                              <a:lnTo>
                                <a:pt x="165" y="20"/>
                              </a:lnTo>
                              <a:lnTo>
                                <a:pt x="176" y="24"/>
                              </a:lnTo>
                              <a:lnTo>
                                <a:pt x="169" y="25"/>
                              </a:lnTo>
                              <a:lnTo>
                                <a:pt x="157" y="29"/>
                              </a:lnTo>
                              <a:lnTo>
                                <a:pt x="151" y="35"/>
                              </a:lnTo>
                              <a:lnTo>
                                <a:pt x="153" y="42"/>
                              </a:lnTo>
                              <a:lnTo>
                                <a:pt x="164" y="44"/>
                              </a:lnTo>
                              <a:lnTo>
                                <a:pt x="171" y="44"/>
                              </a:lnTo>
                              <a:lnTo>
                                <a:pt x="169" y="52"/>
                              </a:lnTo>
                              <a:lnTo>
                                <a:pt x="176" y="60"/>
                              </a:lnTo>
                              <a:lnTo>
                                <a:pt x="173" y="72"/>
                              </a:lnTo>
                              <a:lnTo>
                                <a:pt x="169" y="79"/>
                              </a:lnTo>
                              <a:lnTo>
                                <a:pt x="164" y="85"/>
                              </a:lnTo>
                              <a:lnTo>
                                <a:pt x="158" y="81"/>
                              </a:lnTo>
                              <a:lnTo>
                                <a:pt x="148" y="82"/>
                              </a:lnTo>
                              <a:lnTo>
                                <a:pt x="143" y="89"/>
                              </a:lnTo>
                              <a:lnTo>
                                <a:pt x="149" y="96"/>
                              </a:lnTo>
                              <a:lnTo>
                                <a:pt x="136" y="105"/>
                              </a:lnTo>
                              <a:lnTo>
                                <a:pt x="136" y="115"/>
                              </a:lnTo>
                              <a:lnTo>
                                <a:pt x="138" y="124"/>
                              </a:lnTo>
                              <a:lnTo>
                                <a:pt x="147" y="126"/>
                              </a:lnTo>
                              <a:lnTo>
                                <a:pt x="156" y="137"/>
                              </a:lnTo>
                              <a:lnTo>
                                <a:pt x="157" y="147"/>
                              </a:lnTo>
                              <a:lnTo>
                                <a:pt x="165" y="150"/>
                              </a:lnTo>
                              <a:lnTo>
                                <a:pt x="162" y="158"/>
                              </a:lnTo>
                              <a:lnTo>
                                <a:pt x="148" y="177"/>
                              </a:lnTo>
                              <a:lnTo>
                                <a:pt x="152" y="184"/>
                              </a:lnTo>
                              <a:lnTo>
                                <a:pt x="143" y="191"/>
                              </a:lnTo>
                              <a:lnTo>
                                <a:pt x="138" y="196"/>
                              </a:lnTo>
                              <a:lnTo>
                                <a:pt x="144" y="206"/>
                              </a:lnTo>
                              <a:lnTo>
                                <a:pt x="150" y="210"/>
                              </a:lnTo>
                              <a:lnTo>
                                <a:pt x="147" y="220"/>
                              </a:lnTo>
                              <a:lnTo>
                                <a:pt x="147" y="247"/>
                              </a:lnTo>
                              <a:lnTo>
                                <a:pt x="138" y="252"/>
                              </a:lnTo>
                              <a:lnTo>
                                <a:pt x="125" y="261"/>
                              </a:lnTo>
                              <a:lnTo>
                                <a:pt x="107" y="266"/>
                              </a:lnTo>
                              <a:lnTo>
                                <a:pt x="92" y="266"/>
                              </a:lnTo>
                              <a:lnTo>
                                <a:pt x="86" y="266"/>
                              </a:lnTo>
                              <a:lnTo>
                                <a:pt x="77" y="265"/>
                              </a:lnTo>
                              <a:lnTo>
                                <a:pt x="79" y="277"/>
                              </a:lnTo>
                              <a:lnTo>
                                <a:pt x="70" y="275"/>
                              </a:lnTo>
                              <a:lnTo>
                                <a:pt x="59" y="284"/>
                              </a:lnTo>
                              <a:lnTo>
                                <a:pt x="49" y="287"/>
                              </a:lnTo>
                              <a:lnTo>
                                <a:pt x="35" y="288"/>
                              </a:lnTo>
                              <a:lnTo>
                                <a:pt x="28" y="294"/>
                              </a:lnTo>
                              <a:lnTo>
                                <a:pt x="15" y="300"/>
                              </a:lnTo>
                              <a:lnTo>
                                <a:pt x="4" y="300"/>
                              </a:lnTo>
                              <a:lnTo>
                                <a:pt x="0" y="293"/>
                              </a:lnTo>
                              <a:lnTo>
                                <a:pt x="0" y="285"/>
                              </a:lnTo>
                              <a:lnTo>
                                <a:pt x="4" y="274"/>
                              </a:lnTo>
                              <a:lnTo>
                                <a:pt x="10" y="263"/>
                              </a:lnTo>
                              <a:lnTo>
                                <a:pt x="13" y="253"/>
                              </a:lnTo>
                              <a:lnTo>
                                <a:pt x="15" y="238"/>
                              </a:lnTo>
                              <a:lnTo>
                                <a:pt x="10" y="231"/>
                              </a:lnTo>
                              <a:lnTo>
                                <a:pt x="8" y="225"/>
                              </a:lnTo>
                              <a:lnTo>
                                <a:pt x="10" y="218"/>
                              </a:lnTo>
                              <a:lnTo>
                                <a:pt x="3" y="182"/>
                              </a:lnTo>
                              <a:lnTo>
                                <a:pt x="9" y="181"/>
                              </a:lnTo>
                              <a:lnTo>
                                <a:pt x="12" y="174"/>
                              </a:lnTo>
                              <a:lnTo>
                                <a:pt x="14" y="168"/>
                              </a:lnTo>
                              <a:lnTo>
                                <a:pt x="23" y="161"/>
                              </a:lnTo>
                              <a:lnTo>
                                <a:pt x="20" y="151"/>
                              </a:lnTo>
                              <a:lnTo>
                                <a:pt x="17" y="143"/>
                              </a:lnTo>
                              <a:lnTo>
                                <a:pt x="9" y="137"/>
                              </a:lnTo>
                              <a:lnTo>
                                <a:pt x="11" y="125"/>
                              </a:lnTo>
                              <a:lnTo>
                                <a:pt x="25" y="112"/>
                              </a:lnTo>
                              <a:lnTo>
                                <a:pt x="26" y="101"/>
                              </a:lnTo>
                              <a:lnTo>
                                <a:pt x="29" y="94"/>
                              </a:lnTo>
                              <a:lnTo>
                                <a:pt x="32" y="87"/>
                              </a:lnTo>
                              <a:lnTo>
                                <a:pt x="37" y="81"/>
                              </a:lnTo>
                              <a:lnTo>
                                <a:pt x="40" y="68"/>
                              </a:ln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41" name="Freeform 24"/>
                        <p:cNvSpPr>
                          <a:spLocks noChangeArrowheads="1"/>
                        </p:cNvSpPr>
                        <p:nvPr/>
                      </p:nvSpPr>
                      <p:spPr bwMode="auto">
                        <a:xfrm>
                          <a:off x="2853041" y="1055840"/>
                          <a:ext cx="471966" cy="670257"/>
                        </a:xfrm>
                        <a:custGeom>
                          <a:avLst/>
                          <a:gdLst>
                            <a:gd name="T0" fmla="*/ 2147483647 w 255"/>
                            <a:gd name="T1" fmla="*/ 2147483647 h 315"/>
                            <a:gd name="T2" fmla="*/ 2147483647 w 255"/>
                            <a:gd name="T3" fmla="*/ 2147483647 h 315"/>
                            <a:gd name="T4" fmla="*/ 2147483647 w 255"/>
                            <a:gd name="T5" fmla="*/ 2147483647 h 315"/>
                            <a:gd name="T6" fmla="*/ 2147483647 w 255"/>
                            <a:gd name="T7" fmla="*/ 2147483647 h 315"/>
                            <a:gd name="T8" fmla="*/ 2147483647 w 255"/>
                            <a:gd name="T9" fmla="*/ 2147483647 h 315"/>
                            <a:gd name="T10" fmla="*/ 2147483647 w 255"/>
                            <a:gd name="T11" fmla="*/ 2147483647 h 315"/>
                            <a:gd name="T12" fmla="*/ 2147483647 w 255"/>
                            <a:gd name="T13" fmla="*/ 2147483647 h 315"/>
                            <a:gd name="T14" fmla="*/ 2147483647 w 255"/>
                            <a:gd name="T15" fmla="*/ 2147483647 h 315"/>
                            <a:gd name="T16" fmla="*/ 2147483647 w 255"/>
                            <a:gd name="T17" fmla="*/ 2147483647 h 315"/>
                            <a:gd name="T18" fmla="*/ 2147483647 w 255"/>
                            <a:gd name="T19" fmla="*/ 2147483647 h 315"/>
                            <a:gd name="T20" fmla="*/ 2147483647 w 255"/>
                            <a:gd name="T21" fmla="*/ 2147483647 h 315"/>
                            <a:gd name="T22" fmla="*/ 2147483647 w 255"/>
                            <a:gd name="T23" fmla="*/ 2147483647 h 315"/>
                            <a:gd name="T24" fmla="*/ 2147483647 w 255"/>
                            <a:gd name="T25" fmla="*/ 2147483647 h 315"/>
                            <a:gd name="T26" fmla="*/ 2147483647 w 255"/>
                            <a:gd name="T27" fmla="*/ 2147483647 h 315"/>
                            <a:gd name="T28" fmla="*/ 2147483647 w 255"/>
                            <a:gd name="T29" fmla="*/ 2147483647 h 315"/>
                            <a:gd name="T30" fmla="*/ 2147483647 w 255"/>
                            <a:gd name="T31" fmla="*/ 2147483647 h 315"/>
                            <a:gd name="T32" fmla="*/ 2147483647 w 255"/>
                            <a:gd name="T33" fmla="*/ 2147483647 h 315"/>
                            <a:gd name="T34" fmla="*/ 2147483647 w 255"/>
                            <a:gd name="T35" fmla="*/ 2147483647 h 315"/>
                            <a:gd name="T36" fmla="*/ 2147483647 w 255"/>
                            <a:gd name="T37" fmla="*/ 2147483647 h 315"/>
                            <a:gd name="T38" fmla="*/ 2147483647 w 255"/>
                            <a:gd name="T39" fmla="*/ 2147483647 h 315"/>
                            <a:gd name="T40" fmla="*/ 2147483647 w 255"/>
                            <a:gd name="T41" fmla="*/ 2147483647 h 315"/>
                            <a:gd name="T42" fmla="*/ 2147483647 w 255"/>
                            <a:gd name="T43" fmla="*/ 2147483647 h 315"/>
                            <a:gd name="T44" fmla="*/ 2147483647 w 255"/>
                            <a:gd name="T45" fmla="*/ 2147483647 h 315"/>
                            <a:gd name="T46" fmla="*/ 2147483647 w 255"/>
                            <a:gd name="T47" fmla="*/ 2147483647 h 315"/>
                            <a:gd name="T48" fmla="*/ 2147483647 w 255"/>
                            <a:gd name="T49" fmla="*/ 2147483647 h 315"/>
                            <a:gd name="T50" fmla="*/ 2147483647 w 255"/>
                            <a:gd name="T51" fmla="*/ 2147483647 h 315"/>
                            <a:gd name="T52" fmla="*/ 2147483647 w 255"/>
                            <a:gd name="T53" fmla="*/ 2147483647 h 315"/>
                            <a:gd name="T54" fmla="*/ 2147483647 w 255"/>
                            <a:gd name="T55" fmla="*/ 2147483647 h 315"/>
                            <a:gd name="T56" fmla="*/ 2147483647 w 255"/>
                            <a:gd name="T57" fmla="*/ 2147483647 h 315"/>
                            <a:gd name="T58" fmla="*/ 2147483647 w 255"/>
                            <a:gd name="T59" fmla="*/ 2147483647 h 315"/>
                            <a:gd name="T60" fmla="*/ 2147483647 w 255"/>
                            <a:gd name="T61" fmla="*/ 2147483647 h 315"/>
                            <a:gd name="T62" fmla="*/ 2147483647 w 255"/>
                            <a:gd name="T63" fmla="*/ 2147483647 h 315"/>
                            <a:gd name="T64" fmla="*/ 2147483647 w 255"/>
                            <a:gd name="T65" fmla="*/ 2147483647 h 315"/>
                            <a:gd name="T66" fmla="*/ 2147483647 w 255"/>
                            <a:gd name="T67" fmla="*/ 2147483647 h 315"/>
                            <a:gd name="T68" fmla="*/ 2147483647 w 255"/>
                            <a:gd name="T69" fmla="*/ 2147483647 h 315"/>
                            <a:gd name="T70" fmla="*/ 2147483647 w 255"/>
                            <a:gd name="T71" fmla="*/ 2147483647 h 315"/>
                            <a:gd name="T72" fmla="*/ 2147483647 w 255"/>
                            <a:gd name="T73" fmla="*/ 2147483647 h 315"/>
                            <a:gd name="T74" fmla="*/ 2147483647 w 255"/>
                            <a:gd name="T75" fmla="*/ 2147483647 h 315"/>
                            <a:gd name="T76" fmla="*/ 2147483647 w 255"/>
                            <a:gd name="T77" fmla="*/ 2147483647 h 315"/>
                            <a:gd name="T78" fmla="*/ 2147483647 w 255"/>
                            <a:gd name="T79" fmla="*/ 2147483647 h 315"/>
                            <a:gd name="T80" fmla="*/ 2147483647 w 255"/>
                            <a:gd name="T81" fmla="*/ 2147483647 h 315"/>
                            <a:gd name="T82" fmla="*/ 2147483647 w 255"/>
                            <a:gd name="T83" fmla="*/ 2147483647 h 315"/>
                            <a:gd name="T84" fmla="*/ 2147483647 w 255"/>
                            <a:gd name="T85" fmla="*/ 2147483647 h 315"/>
                            <a:gd name="T86" fmla="*/ 2147483647 w 255"/>
                            <a:gd name="T87" fmla="*/ 2147483647 h 315"/>
                            <a:gd name="T88" fmla="*/ 2147483647 w 255"/>
                            <a:gd name="T89" fmla="*/ 2147483647 h 315"/>
                            <a:gd name="T90" fmla="*/ 2147483647 w 255"/>
                            <a:gd name="T91" fmla="*/ 2147483647 h 315"/>
                            <a:gd name="T92" fmla="*/ 2147483647 w 255"/>
                            <a:gd name="T93" fmla="*/ 2147483647 h 315"/>
                            <a:gd name="T94" fmla="*/ 2147483647 w 255"/>
                            <a:gd name="T95" fmla="*/ 2147483647 h 315"/>
                            <a:gd name="T96" fmla="*/ 2147483647 w 255"/>
                            <a:gd name="T97" fmla="*/ 2147483647 h 315"/>
                            <a:gd name="T98" fmla="*/ 2147483647 w 255"/>
                            <a:gd name="T99" fmla="*/ 2147483647 h 315"/>
                            <a:gd name="T100" fmla="*/ 2147483647 w 255"/>
                            <a:gd name="T101" fmla="*/ 2147483647 h 315"/>
                            <a:gd name="T102" fmla="*/ 2147483647 w 255"/>
                            <a:gd name="T103" fmla="*/ 2147483647 h 315"/>
                            <a:gd name="T104" fmla="*/ 0 w 255"/>
                            <a:gd name="T105" fmla="*/ 2147483647 h 315"/>
                            <a:gd name="T106" fmla="*/ 2147483647 w 255"/>
                            <a:gd name="T107" fmla="*/ 2147483647 h 315"/>
                            <a:gd name="T108" fmla="*/ 2147483647 w 255"/>
                            <a:gd name="T109" fmla="*/ 2147483647 h 315"/>
                            <a:gd name="T110" fmla="*/ 2147483647 w 255"/>
                            <a:gd name="T111" fmla="*/ 2147483647 h 315"/>
                            <a:gd name="T112" fmla="*/ 2147483647 w 255"/>
                            <a:gd name="T113" fmla="*/ 2147483647 h 315"/>
                            <a:gd name="T114" fmla="*/ 2147483647 w 255"/>
                            <a:gd name="T115" fmla="*/ 2147483647 h 315"/>
                            <a:gd name="T116" fmla="*/ 2147483647 w 255"/>
                            <a:gd name="T117" fmla="*/ 2147483647 h 31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5"/>
                            <a:gd name="T178" fmla="*/ 0 h 315"/>
                            <a:gd name="T179" fmla="*/ 255 w 255"/>
                            <a:gd name="T180" fmla="*/ 315 h 31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5" h="315">
                              <a:moveTo>
                                <a:pt x="13" y="304"/>
                              </a:moveTo>
                              <a:lnTo>
                                <a:pt x="25" y="306"/>
                              </a:lnTo>
                              <a:lnTo>
                                <a:pt x="32" y="307"/>
                              </a:lnTo>
                              <a:lnTo>
                                <a:pt x="41" y="307"/>
                              </a:lnTo>
                              <a:lnTo>
                                <a:pt x="49" y="315"/>
                              </a:lnTo>
                              <a:lnTo>
                                <a:pt x="63" y="312"/>
                              </a:lnTo>
                              <a:lnTo>
                                <a:pt x="75" y="310"/>
                              </a:lnTo>
                              <a:lnTo>
                                <a:pt x="84" y="304"/>
                              </a:lnTo>
                              <a:lnTo>
                                <a:pt x="77" y="292"/>
                              </a:lnTo>
                              <a:lnTo>
                                <a:pt x="88" y="283"/>
                              </a:lnTo>
                              <a:lnTo>
                                <a:pt x="99" y="276"/>
                              </a:lnTo>
                              <a:lnTo>
                                <a:pt x="101" y="267"/>
                              </a:lnTo>
                              <a:lnTo>
                                <a:pt x="106" y="252"/>
                              </a:lnTo>
                              <a:lnTo>
                                <a:pt x="120" y="251"/>
                              </a:lnTo>
                              <a:lnTo>
                                <a:pt x="128" y="240"/>
                              </a:lnTo>
                              <a:lnTo>
                                <a:pt x="140" y="228"/>
                              </a:lnTo>
                              <a:lnTo>
                                <a:pt x="150" y="228"/>
                              </a:lnTo>
                              <a:lnTo>
                                <a:pt x="158" y="226"/>
                              </a:lnTo>
                              <a:lnTo>
                                <a:pt x="170" y="219"/>
                              </a:lnTo>
                              <a:lnTo>
                                <a:pt x="180" y="209"/>
                              </a:lnTo>
                              <a:lnTo>
                                <a:pt x="176" y="202"/>
                              </a:lnTo>
                              <a:lnTo>
                                <a:pt x="167" y="193"/>
                              </a:lnTo>
                              <a:lnTo>
                                <a:pt x="151" y="190"/>
                              </a:lnTo>
                              <a:lnTo>
                                <a:pt x="144" y="185"/>
                              </a:lnTo>
                              <a:lnTo>
                                <a:pt x="137" y="182"/>
                              </a:lnTo>
                              <a:lnTo>
                                <a:pt x="130" y="183"/>
                              </a:lnTo>
                              <a:lnTo>
                                <a:pt x="127" y="174"/>
                              </a:lnTo>
                              <a:lnTo>
                                <a:pt x="134" y="170"/>
                              </a:lnTo>
                              <a:lnTo>
                                <a:pt x="134" y="156"/>
                              </a:lnTo>
                              <a:lnTo>
                                <a:pt x="131" y="149"/>
                              </a:lnTo>
                              <a:lnTo>
                                <a:pt x="132" y="142"/>
                              </a:lnTo>
                              <a:lnTo>
                                <a:pt x="143" y="143"/>
                              </a:lnTo>
                              <a:lnTo>
                                <a:pt x="146" y="129"/>
                              </a:lnTo>
                              <a:lnTo>
                                <a:pt x="137" y="120"/>
                              </a:lnTo>
                              <a:lnTo>
                                <a:pt x="147" y="119"/>
                              </a:lnTo>
                              <a:lnTo>
                                <a:pt x="156" y="114"/>
                              </a:lnTo>
                              <a:lnTo>
                                <a:pt x="165" y="120"/>
                              </a:lnTo>
                              <a:lnTo>
                                <a:pt x="170" y="128"/>
                              </a:lnTo>
                              <a:lnTo>
                                <a:pt x="165" y="138"/>
                              </a:lnTo>
                              <a:lnTo>
                                <a:pt x="173" y="148"/>
                              </a:lnTo>
                              <a:lnTo>
                                <a:pt x="182" y="152"/>
                              </a:lnTo>
                              <a:lnTo>
                                <a:pt x="187" y="160"/>
                              </a:lnTo>
                              <a:lnTo>
                                <a:pt x="198" y="164"/>
                              </a:lnTo>
                              <a:lnTo>
                                <a:pt x="210" y="165"/>
                              </a:lnTo>
                              <a:lnTo>
                                <a:pt x="226" y="160"/>
                              </a:lnTo>
                              <a:lnTo>
                                <a:pt x="232" y="149"/>
                              </a:lnTo>
                              <a:lnTo>
                                <a:pt x="233" y="138"/>
                              </a:lnTo>
                              <a:lnTo>
                                <a:pt x="236" y="129"/>
                              </a:lnTo>
                              <a:lnTo>
                                <a:pt x="243" y="124"/>
                              </a:lnTo>
                              <a:lnTo>
                                <a:pt x="255" y="116"/>
                              </a:lnTo>
                              <a:lnTo>
                                <a:pt x="240" y="106"/>
                              </a:lnTo>
                              <a:lnTo>
                                <a:pt x="239" y="94"/>
                              </a:lnTo>
                              <a:lnTo>
                                <a:pt x="230" y="94"/>
                              </a:lnTo>
                              <a:lnTo>
                                <a:pt x="214" y="89"/>
                              </a:lnTo>
                              <a:lnTo>
                                <a:pt x="209" y="81"/>
                              </a:lnTo>
                              <a:lnTo>
                                <a:pt x="209" y="70"/>
                              </a:lnTo>
                              <a:lnTo>
                                <a:pt x="224" y="58"/>
                              </a:lnTo>
                              <a:lnTo>
                                <a:pt x="216" y="57"/>
                              </a:lnTo>
                              <a:lnTo>
                                <a:pt x="206" y="56"/>
                              </a:lnTo>
                              <a:lnTo>
                                <a:pt x="187" y="57"/>
                              </a:lnTo>
                              <a:lnTo>
                                <a:pt x="185" y="47"/>
                              </a:lnTo>
                              <a:lnTo>
                                <a:pt x="173" y="39"/>
                              </a:lnTo>
                              <a:lnTo>
                                <a:pt x="182" y="34"/>
                              </a:lnTo>
                              <a:lnTo>
                                <a:pt x="180" y="24"/>
                              </a:lnTo>
                              <a:lnTo>
                                <a:pt x="168" y="18"/>
                              </a:lnTo>
                              <a:lnTo>
                                <a:pt x="168" y="11"/>
                              </a:lnTo>
                              <a:lnTo>
                                <a:pt x="157" y="0"/>
                              </a:lnTo>
                              <a:lnTo>
                                <a:pt x="142" y="6"/>
                              </a:lnTo>
                              <a:lnTo>
                                <a:pt x="124" y="10"/>
                              </a:lnTo>
                              <a:lnTo>
                                <a:pt x="122" y="20"/>
                              </a:lnTo>
                              <a:lnTo>
                                <a:pt x="123" y="30"/>
                              </a:lnTo>
                              <a:lnTo>
                                <a:pt x="115" y="34"/>
                              </a:lnTo>
                              <a:lnTo>
                                <a:pt x="103" y="30"/>
                              </a:lnTo>
                              <a:lnTo>
                                <a:pt x="97" y="38"/>
                              </a:lnTo>
                              <a:lnTo>
                                <a:pt x="91" y="43"/>
                              </a:lnTo>
                              <a:lnTo>
                                <a:pt x="87" y="36"/>
                              </a:lnTo>
                              <a:lnTo>
                                <a:pt x="78" y="38"/>
                              </a:lnTo>
                              <a:lnTo>
                                <a:pt x="68" y="45"/>
                              </a:lnTo>
                              <a:lnTo>
                                <a:pt x="60" y="54"/>
                              </a:lnTo>
                              <a:lnTo>
                                <a:pt x="46" y="53"/>
                              </a:lnTo>
                              <a:lnTo>
                                <a:pt x="46" y="37"/>
                              </a:lnTo>
                              <a:lnTo>
                                <a:pt x="39" y="25"/>
                              </a:lnTo>
                              <a:lnTo>
                                <a:pt x="28" y="35"/>
                              </a:lnTo>
                              <a:lnTo>
                                <a:pt x="20" y="42"/>
                              </a:lnTo>
                              <a:lnTo>
                                <a:pt x="20" y="60"/>
                              </a:lnTo>
                              <a:lnTo>
                                <a:pt x="11" y="59"/>
                              </a:lnTo>
                              <a:lnTo>
                                <a:pt x="6" y="66"/>
                              </a:lnTo>
                              <a:lnTo>
                                <a:pt x="13" y="74"/>
                              </a:lnTo>
                              <a:lnTo>
                                <a:pt x="5" y="78"/>
                              </a:lnTo>
                              <a:lnTo>
                                <a:pt x="16" y="95"/>
                              </a:lnTo>
                              <a:lnTo>
                                <a:pt x="25" y="105"/>
                              </a:lnTo>
                              <a:lnTo>
                                <a:pt x="28" y="112"/>
                              </a:lnTo>
                              <a:lnTo>
                                <a:pt x="39" y="118"/>
                              </a:lnTo>
                              <a:lnTo>
                                <a:pt x="25" y="121"/>
                              </a:lnTo>
                              <a:lnTo>
                                <a:pt x="17" y="125"/>
                              </a:lnTo>
                              <a:lnTo>
                                <a:pt x="14" y="132"/>
                              </a:lnTo>
                              <a:lnTo>
                                <a:pt x="19" y="137"/>
                              </a:lnTo>
                              <a:lnTo>
                                <a:pt x="35" y="138"/>
                              </a:lnTo>
                              <a:lnTo>
                                <a:pt x="33" y="147"/>
                              </a:lnTo>
                              <a:lnTo>
                                <a:pt x="40" y="155"/>
                              </a:lnTo>
                              <a:lnTo>
                                <a:pt x="33" y="173"/>
                              </a:lnTo>
                              <a:lnTo>
                                <a:pt x="28" y="178"/>
                              </a:lnTo>
                              <a:lnTo>
                                <a:pt x="12" y="175"/>
                              </a:lnTo>
                              <a:lnTo>
                                <a:pt x="7" y="183"/>
                              </a:lnTo>
                              <a:lnTo>
                                <a:pt x="13" y="190"/>
                              </a:lnTo>
                              <a:lnTo>
                                <a:pt x="0" y="200"/>
                              </a:lnTo>
                              <a:lnTo>
                                <a:pt x="1" y="217"/>
                              </a:lnTo>
                              <a:lnTo>
                                <a:pt x="13" y="220"/>
                              </a:lnTo>
                              <a:lnTo>
                                <a:pt x="22" y="233"/>
                              </a:lnTo>
                              <a:lnTo>
                                <a:pt x="21" y="241"/>
                              </a:lnTo>
                              <a:lnTo>
                                <a:pt x="29" y="243"/>
                              </a:lnTo>
                              <a:lnTo>
                                <a:pt x="23" y="257"/>
                              </a:lnTo>
                              <a:lnTo>
                                <a:pt x="12" y="271"/>
                              </a:lnTo>
                              <a:lnTo>
                                <a:pt x="17" y="278"/>
                              </a:lnTo>
                              <a:lnTo>
                                <a:pt x="8" y="283"/>
                              </a:lnTo>
                              <a:lnTo>
                                <a:pt x="3" y="289"/>
                              </a:lnTo>
                              <a:lnTo>
                                <a:pt x="6" y="297"/>
                              </a:lnTo>
                              <a:lnTo>
                                <a:pt x="13" y="304"/>
                              </a:ln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42" name="Freeform 25"/>
                        <p:cNvSpPr>
                          <a:spLocks noChangeArrowheads="1"/>
                        </p:cNvSpPr>
                        <p:nvPr/>
                      </p:nvSpPr>
                      <p:spPr bwMode="auto">
                        <a:xfrm>
                          <a:off x="3088562" y="1298025"/>
                          <a:ext cx="110834" cy="166768"/>
                        </a:xfrm>
                        <a:custGeom>
                          <a:avLst/>
                          <a:gdLst>
                            <a:gd name="T0" fmla="*/ 2147483647 w 60"/>
                            <a:gd name="T1" fmla="*/ 2147483647 h 78"/>
                            <a:gd name="T2" fmla="*/ 2147483647 w 60"/>
                            <a:gd name="T3" fmla="*/ 2147483647 h 78"/>
                            <a:gd name="T4" fmla="*/ 2147483647 w 60"/>
                            <a:gd name="T5" fmla="*/ 2147483647 h 78"/>
                            <a:gd name="T6" fmla="*/ 2147483647 w 60"/>
                            <a:gd name="T7" fmla="*/ 2147483647 h 78"/>
                            <a:gd name="T8" fmla="*/ 0 w 60"/>
                            <a:gd name="T9" fmla="*/ 2147483647 h 78"/>
                            <a:gd name="T10" fmla="*/ 2147483647 w 60"/>
                            <a:gd name="T11" fmla="*/ 2147483647 h 78"/>
                            <a:gd name="T12" fmla="*/ 2147483647 w 60"/>
                            <a:gd name="T13" fmla="*/ 2147483647 h 78"/>
                            <a:gd name="T14" fmla="*/ 2147483647 w 60"/>
                            <a:gd name="T15" fmla="*/ 2147483647 h 78"/>
                            <a:gd name="T16" fmla="*/ 2147483647 w 60"/>
                            <a:gd name="T17" fmla="*/ 2147483647 h 78"/>
                            <a:gd name="T18" fmla="*/ 2147483647 w 60"/>
                            <a:gd name="T19" fmla="*/ 2147483647 h 78"/>
                            <a:gd name="T20" fmla="*/ 2147483647 w 60"/>
                            <a:gd name="T21" fmla="*/ 2147483647 h 78"/>
                            <a:gd name="T22" fmla="*/ 2147483647 w 60"/>
                            <a:gd name="T23" fmla="*/ 2147483647 h 78"/>
                            <a:gd name="T24" fmla="*/ 2147483647 w 60"/>
                            <a:gd name="T25" fmla="*/ 2147483647 h 78"/>
                            <a:gd name="T26" fmla="*/ 2147483647 w 60"/>
                            <a:gd name="T27" fmla="*/ 0 h 78"/>
                            <a:gd name="T28" fmla="*/ 2147483647 w 60"/>
                            <a:gd name="T29" fmla="*/ 2147483647 h 78"/>
                            <a:gd name="T30" fmla="*/ 2147483647 w 60"/>
                            <a:gd name="T31" fmla="*/ 2147483647 h 78"/>
                            <a:gd name="T32" fmla="*/ 2147483647 w 60"/>
                            <a:gd name="T33" fmla="*/ 2147483647 h 78"/>
                            <a:gd name="T34" fmla="*/ 2147483647 w 60"/>
                            <a:gd name="T35" fmla="*/ 2147483647 h 78"/>
                            <a:gd name="T36" fmla="*/ 2147483647 w 60"/>
                            <a:gd name="T37" fmla="*/ 2147483647 h 78"/>
                            <a:gd name="T38" fmla="*/ 2147483647 w 60"/>
                            <a:gd name="T39" fmla="*/ 2147483647 h 78"/>
                            <a:gd name="T40" fmla="*/ 2147483647 w 60"/>
                            <a:gd name="T41" fmla="*/ 2147483647 h 78"/>
                            <a:gd name="T42" fmla="*/ 2147483647 w 60"/>
                            <a:gd name="T43" fmla="*/ 2147483647 h 78"/>
                            <a:gd name="T44" fmla="*/ 2147483647 w 60"/>
                            <a:gd name="T45" fmla="*/ 2147483647 h 78"/>
                            <a:gd name="T46" fmla="*/ 2147483647 w 60"/>
                            <a:gd name="T47" fmla="*/ 2147483647 h 78"/>
                            <a:gd name="T48" fmla="*/ 2147483647 w 60"/>
                            <a:gd name="T49" fmla="*/ 2147483647 h 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8"/>
                            <a:gd name="T77" fmla="*/ 60 w 60"/>
                            <a:gd name="T78" fmla="*/ 78 h 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8">
                              <a:moveTo>
                                <a:pt x="39" y="78"/>
                              </a:moveTo>
                              <a:lnTo>
                                <a:pt x="21" y="77"/>
                              </a:lnTo>
                              <a:lnTo>
                                <a:pt x="10" y="67"/>
                              </a:lnTo>
                              <a:lnTo>
                                <a:pt x="2" y="68"/>
                              </a:lnTo>
                              <a:lnTo>
                                <a:pt x="0" y="61"/>
                              </a:lnTo>
                              <a:lnTo>
                                <a:pt x="8" y="56"/>
                              </a:lnTo>
                              <a:lnTo>
                                <a:pt x="6" y="38"/>
                              </a:lnTo>
                              <a:lnTo>
                                <a:pt x="4" y="27"/>
                              </a:lnTo>
                              <a:lnTo>
                                <a:pt x="12" y="27"/>
                              </a:lnTo>
                              <a:lnTo>
                                <a:pt x="18" y="29"/>
                              </a:lnTo>
                              <a:lnTo>
                                <a:pt x="19" y="13"/>
                              </a:lnTo>
                              <a:lnTo>
                                <a:pt x="10" y="5"/>
                              </a:lnTo>
                              <a:lnTo>
                                <a:pt x="18" y="5"/>
                              </a:lnTo>
                              <a:lnTo>
                                <a:pt x="29" y="0"/>
                              </a:lnTo>
                              <a:lnTo>
                                <a:pt x="39" y="5"/>
                              </a:lnTo>
                              <a:lnTo>
                                <a:pt x="42" y="16"/>
                              </a:lnTo>
                              <a:lnTo>
                                <a:pt x="40" y="24"/>
                              </a:lnTo>
                              <a:lnTo>
                                <a:pt x="49" y="38"/>
                              </a:lnTo>
                              <a:lnTo>
                                <a:pt x="56" y="40"/>
                              </a:lnTo>
                              <a:lnTo>
                                <a:pt x="60" y="46"/>
                              </a:lnTo>
                              <a:lnTo>
                                <a:pt x="51" y="47"/>
                              </a:lnTo>
                              <a:lnTo>
                                <a:pt x="44" y="51"/>
                              </a:lnTo>
                              <a:lnTo>
                                <a:pt x="44" y="58"/>
                              </a:lnTo>
                              <a:lnTo>
                                <a:pt x="43" y="65"/>
                              </a:lnTo>
                              <a:lnTo>
                                <a:pt x="37" y="72"/>
                              </a:lnTo>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43" name="Freeform 27"/>
                        <p:cNvSpPr>
                          <a:spLocks noChangeArrowheads="1"/>
                        </p:cNvSpPr>
                        <p:nvPr/>
                      </p:nvSpPr>
                      <p:spPr bwMode="auto">
                        <a:xfrm>
                          <a:off x="2970340" y="1492412"/>
                          <a:ext cx="601272" cy="413201"/>
                        </a:xfrm>
                        <a:custGeom>
                          <a:avLst/>
                          <a:gdLst>
                            <a:gd name="T0" fmla="*/ 2147483647 w 325"/>
                            <a:gd name="T1" fmla="*/ 2147483647 h 194"/>
                            <a:gd name="T2" fmla="*/ 2147483647 w 325"/>
                            <a:gd name="T3" fmla="*/ 2147483647 h 194"/>
                            <a:gd name="T4" fmla="*/ 2147483647 w 325"/>
                            <a:gd name="T5" fmla="*/ 2147483647 h 194"/>
                            <a:gd name="T6" fmla="*/ 2147483647 w 325"/>
                            <a:gd name="T7" fmla="*/ 2147483647 h 194"/>
                            <a:gd name="T8" fmla="*/ 0 w 325"/>
                            <a:gd name="T9" fmla="*/ 2147483647 h 194"/>
                            <a:gd name="T10" fmla="*/ 2147483647 w 325"/>
                            <a:gd name="T11" fmla="*/ 2147483647 h 194"/>
                            <a:gd name="T12" fmla="*/ 2147483647 w 325"/>
                            <a:gd name="T13" fmla="*/ 2147483647 h 194"/>
                            <a:gd name="T14" fmla="*/ 2147483647 w 325"/>
                            <a:gd name="T15" fmla="*/ 2147483647 h 194"/>
                            <a:gd name="T16" fmla="*/ 2147483647 w 325"/>
                            <a:gd name="T17" fmla="*/ 2147483647 h 194"/>
                            <a:gd name="T18" fmla="*/ 2147483647 w 325"/>
                            <a:gd name="T19" fmla="*/ 2147483647 h 194"/>
                            <a:gd name="T20" fmla="*/ 2147483647 w 325"/>
                            <a:gd name="T21" fmla="*/ 2147483647 h 194"/>
                            <a:gd name="T22" fmla="*/ 2147483647 w 325"/>
                            <a:gd name="T23" fmla="*/ 2147483647 h 194"/>
                            <a:gd name="T24" fmla="*/ 2147483647 w 325"/>
                            <a:gd name="T25" fmla="*/ 2147483647 h 194"/>
                            <a:gd name="T26" fmla="*/ 2147483647 w 325"/>
                            <a:gd name="T27" fmla="*/ 2147483647 h 194"/>
                            <a:gd name="T28" fmla="*/ 2147483647 w 325"/>
                            <a:gd name="T29" fmla="*/ 2147483647 h 194"/>
                            <a:gd name="T30" fmla="*/ 2147483647 w 325"/>
                            <a:gd name="T31" fmla="*/ 2147483647 h 194"/>
                            <a:gd name="T32" fmla="*/ 2147483647 w 325"/>
                            <a:gd name="T33" fmla="*/ 2147483647 h 194"/>
                            <a:gd name="T34" fmla="*/ 2147483647 w 325"/>
                            <a:gd name="T35" fmla="*/ 2147483647 h 194"/>
                            <a:gd name="T36" fmla="*/ 2147483647 w 325"/>
                            <a:gd name="T37" fmla="*/ 2147483647 h 194"/>
                            <a:gd name="T38" fmla="*/ 2147483647 w 325"/>
                            <a:gd name="T39" fmla="*/ 2147483647 h 194"/>
                            <a:gd name="T40" fmla="*/ 2147483647 w 325"/>
                            <a:gd name="T41" fmla="*/ 2147483647 h 194"/>
                            <a:gd name="T42" fmla="*/ 2147483647 w 325"/>
                            <a:gd name="T43" fmla="*/ 2147483647 h 194"/>
                            <a:gd name="T44" fmla="*/ 2147483647 w 325"/>
                            <a:gd name="T45" fmla="*/ 2147483647 h 194"/>
                            <a:gd name="T46" fmla="*/ 2147483647 w 325"/>
                            <a:gd name="T47" fmla="*/ 2147483647 h 194"/>
                            <a:gd name="T48" fmla="*/ 2147483647 w 325"/>
                            <a:gd name="T49" fmla="*/ 2147483647 h 194"/>
                            <a:gd name="T50" fmla="*/ 2147483647 w 325"/>
                            <a:gd name="T51" fmla="*/ 2147483647 h 194"/>
                            <a:gd name="T52" fmla="*/ 2147483647 w 325"/>
                            <a:gd name="T53" fmla="*/ 2147483647 h 194"/>
                            <a:gd name="T54" fmla="*/ 2147483647 w 325"/>
                            <a:gd name="T55" fmla="*/ 2147483647 h 194"/>
                            <a:gd name="T56" fmla="*/ 2147483647 w 325"/>
                            <a:gd name="T57" fmla="*/ 2147483647 h 194"/>
                            <a:gd name="T58" fmla="*/ 2147483647 w 325"/>
                            <a:gd name="T59" fmla="*/ 2147483647 h 194"/>
                            <a:gd name="T60" fmla="*/ 2147483647 w 325"/>
                            <a:gd name="T61" fmla="*/ 2147483647 h 194"/>
                            <a:gd name="T62" fmla="*/ 2147483647 w 325"/>
                            <a:gd name="T63" fmla="*/ 2147483647 h 194"/>
                            <a:gd name="T64" fmla="*/ 2147483647 w 325"/>
                            <a:gd name="T65" fmla="*/ 2147483647 h 194"/>
                            <a:gd name="T66" fmla="*/ 2147483647 w 325"/>
                            <a:gd name="T67" fmla="*/ 2147483647 h 194"/>
                            <a:gd name="T68" fmla="*/ 2147483647 w 325"/>
                            <a:gd name="T69" fmla="*/ 2147483647 h 194"/>
                            <a:gd name="T70" fmla="*/ 2147483647 w 325"/>
                            <a:gd name="T71" fmla="*/ 2147483647 h 194"/>
                            <a:gd name="T72" fmla="*/ 2147483647 w 325"/>
                            <a:gd name="T73" fmla="*/ 0 h 194"/>
                            <a:gd name="T74" fmla="*/ 2147483647 w 325"/>
                            <a:gd name="T75" fmla="*/ 2147483647 h 194"/>
                            <a:gd name="T76" fmla="*/ 2147483647 w 325"/>
                            <a:gd name="T77" fmla="*/ 2147483647 h 194"/>
                            <a:gd name="T78" fmla="*/ 2147483647 w 325"/>
                            <a:gd name="T79" fmla="*/ 2147483647 h 194"/>
                            <a:gd name="T80" fmla="*/ 2147483647 w 325"/>
                            <a:gd name="T81" fmla="*/ 2147483647 h 194"/>
                            <a:gd name="T82" fmla="*/ 2147483647 w 325"/>
                            <a:gd name="T83" fmla="*/ 2147483647 h 194"/>
                            <a:gd name="T84" fmla="*/ 2147483647 w 325"/>
                            <a:gd name="T85" fmla="*/ 2147483647 h 194"/>
                            <a:gd name="T86" fmla="*/ 2147483647 w 325"/>
                            <a:gd name="T87" fmla="*/ 2147483647 h 194"/>
                            <a:gd name="T88" fmla="*/ 2147483647 w 325"/>
                            <a:gd name="T89" fmla="*/ 2147483647 h 194"/>
                            <a:gd name="T90" fmla="*/ 2147483647 w 325"/>
                            <a:gd name="T91" fmla="*/ 2147483647 h 19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25"/>
                            <a:gd name="T139" fmla="*/ 0 h 194"/>
                            <a:gd name="T140" fmla="*/ 325 w 325"/>
                            <a:gd name="T141" fmla="*/ 194 h 19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25" h="194">
                              <a:moveTo>
                                <a:pt x="14" y="105"/>
                              </a:moveTo>
                              <a:lnTo>
                                <a:pt x="19" y="112"/>
                              </a:lnTo>
                              <a:lnTo>
                                <a:pt x="26" y="104"/>
                              </a:lnTo>
                              <a:lnTo>
                                <a:pt x="20" y="118"/>
                              </a:lnTo>
                              <a:lnTo>
                                <a:pt x="18" y="125"/>
                              </a:lnTo>
                              <a:lnTo>
                                <a:pt x="27" y="127"/>
                              </a:lnTo>
                              <a:lnTo>
                                <a:pt x="18" y="142"/>
                              </a:lnTo>
                              <a:lnTo>
                                <a:pt x="5" y="147"/>
                              </a:lnTo>
                              <a:lnTo>
                                <a:pt x="0" y="157"/>
                              </a:lnTo>
                              <a:lnTo>
                                <a:pt x="0" y="166"/>
                              </a:lnTo>
                              <a:lnTo>
                                <a:pt x="9" y="166"/>
                              </a:lnTo>
                              <a:lnTo>
                                <a:pt x="16" y="161"/>
                              </a:lnTo>
                              <a:lnTo>
                                <a:pt x="17" y="169"/>
                              </a:lnTo>
                              <a:lnTo>
                                <a:pt x="28" y="170"/>
                              </a:lnTo>
                              <a:lnTo>
                                <a:pt x="31" y="181"/>
                              </a:lnTo>
                              <a:lnTo>
                                <a:pt x="42" y="184"/>
                              </a:lnTo>
                              <a:lnTo>
                                <a:pt x="56" y="180"/>
                              </a:lnTo>
                              <a:lnTo>
                                <a:pt x="66" y="180"/>
                              </a:lnTo>
                              <a:lnTo>
                                <a:pt x="71" y="175"/>
                              </a:lnTo>
                              <a:lnTo>
                                <a:pt x="71" y="165"/>
                              </a:lnTo>
                              <a:lnTo>
                                <a:pt x="90" y="164"/>
                              </a:lnTo>
                              <a:lnTo>
                                <a:pt x="102" y="172"/>
                              </a:lnTo>
                              <a:lnTo>
                                <a:pt x="109" y="194"/>
                              </a:lnTo>
                              <a:lnTo>
                                <a:pt x="116" y="188"/>
                              </a:lnTo>
                              <a:lnTo>
                                <a:pt x="129" y="178"/>
                              </a:lnTo>
                              <a:lnTo>
                                <a:pt x="135" y="174"/>
                              </a:lnTo>
                              <a:lnTo>
                                <a:pt x="146" y="171"/>
                              </a:lnTo>
                              <a:lnTo>
                                <a:pt x="151" y="177"/>
                              </a:lnTo>
                              <a:lnTo>
                                <a:pt x="158" y="182"/>
                              </a:lnTo>
                              <a:lnTo>
                                <a:pt x="161" y="166"/>
                              </a:lnTo>
                              <a:lnTo>
                                <a:pt x="169" y="163"/>
                              </a:lnTo>
                              <a:lnTo>
                                <a:pt x="175" y="159"/>
                              </a:lnTo>
                              <a:lnTo>
                                <a:pt x="176" y="149"/>
                              </a:lnTo>
                              <a:lnTo>
                                <a:pt x="187" y="147"/>
                              </a:lnTo>
                              <a:lnTo>
                                <a:pt x="200" y="147"/>
                              </a:lnTo>
                              <a:lnTo>
                                <a:pt x="203" y="128"/>
                              </a:lnTo>
                              <a:lnTo>
                                <a:pt x="217" y="118"/>
                              </a:lnTo>
                              <a:lnTo>
                                <a:pt x="225" y="112"/>
                              </a:lnTo>
                              <a:lnTo>
                                <a:pt x="223" y="104"/>
                              </a:lnTo>
                              <a:lnTo>
                                <a:pt x="223" y="89"/>
                              </a:lnTo>
                              <a:lnTo>
                                <a:pt x="233" y="82"/>
                              </a:lnTo>
                              <a:lnTo>
                                <a:pt x="233" y="98"/>
                              </a:lnTo>
                              <a:lnTo>
                                <a:pt x="241" y="91"/>
                              </a:lnTo>
                              <a:lnTo>
                                <a:pt x="251" y="82"/>
                              </a:lnTo>
                              <a:lnTo>
                                <a:pt x="248" y="75"/>
                              </a:lnTo>
                              <a:lnTo>
                                <a:pt x="263" y="66"/>
                              </a:lnTo>
                              <a:lnTo>
                                <a:pt x="278" y="61"/>
                              </a:lnTo>
                              <a:lnTo>
                                <a:pt x="280" y="54"/>
                              </a:lnTo>
                              <a:lnTo>
                                <a:pt x="295" y="47"/>
                              </a:lnTo>
                              <a:lnTo>
                                <a:pt x="310" y="49"/>
                              </a:lnTo>
                              <a:lnTo>
                                <a:pt x="322" y="49"/>
                              </a:lnTo>
                              <a:lnTo>
                                <a:pt x="322" y="41"/>
                              </a:lnTo>
                              <a:lnTo>
                                <a:pt x="319" y="29"/>
                              </a:lnTo>
                              <a:lnTo>
                                <a:pt x="325" y="22"/>
                              </a:lnTo>
                              <a:lnTo>
                                <a:pt x="315" y="25"/>
                              </a:lnTo>
                              <a:lnTo>
                                <a:pt x="305" y="25"/>
                              </a:lnTo>
                              <a:lnTo>
                                <a:pt x="299" y="19"/>
                              </a:lnTo>
                              <a:lnTo>
                                <a:pt x="288" y="26"/>
                              </a:lnTo>
                              <a:lnTo>
                                <a:pt x="276" y="26"/>
                              </a:lnTo>
                              <a:lnTo>
                                <a:pt x="269" y="23"/>
                              </a:lnTo>
                              <a:lnTo>
                                <a:pt x="256" y="16"/>
                              </a:lnTo>
                              <a:lnTo>
                                <a:pt x="243" y="11"/>
                              </a:lnTo>
                              <a:lnTo>
                                <a:pt x="228" y="16"/>
                              </a:lnTo>
                              <a:lnTo>
                                <a:pt x="223" y="22"/>
                              </a:lnTo>
                              <a:lnTo>
                                <a:pt x="221" y="28"/>
                              </a:lnTo>
                              <a:lnTo>
                                <a:pt x="207" y="36"/>
                              </a:lnTo>
                              <a:lnTo>
                                <a:pt x="206" y="48"/>
                              </a:lnTo>
                              <a:lnTo>
                                <a:pt x="191" y="49"/>
                              </a:lnTo>
                              <a:lnTo>
                                <a:pt x="177" y="48"/>
                              </a:lnTo>
                              <a:lnTo>
                                <a:pt x="166" y="41"/>
                              </a:lnTo>
                              <a:lnTo>
                                <a:pt x="167" y="30"/>
                              </a:lnTo>
                              <a:lnTo>
                                <a:pt x="172" y="17"/>
                              </a:lnTo>
                              <a:lnTo>
                                <a:pt x="162" y="8"/>
                              </a:lnTo>
                              <a:lnTo>
                                <a:pt x="157" y="0"/>
                              </a:lnTo>
                              <a:lnTo>
                                <a:pt x="150" y="10"/>
                              </a:lnTo>
                              <a:lnTo>
                                <a:pt x="135" y="6"/>
                              </a:lnTo>
                              <a:lnTo>
                                <a:pt x="129" y="6"/>
                              </a:lnTo>
                              <a:lnTo>
                                <a:pt x="129" y="14"/>
                              </a:lnTo>
                              <a:lnTo>
                                <a:pt x="124" y="8"/>
                              </a:lnTo>
                              <a:lnTo>
                                <a:pt x="116" y="8"/>
                              </a:lnTo>
                              <a:lnTo>
                                <a:pt x="104" y="15"/>
                              </a:lnTo>
                              <a:lnTo>
                                <a:pt x="95" y="20"/>
                              </a:lnTo>
                              <a:lnTo>
                                <a:pt x="78" y="23"/>
                              </a:lnTo>
                              <a:lnTo>
                                <a:pt x="65" y="33"/>
                              </a:lnTo>
                              <a:lnTo>
                                <a:pt x="57" y="47"/>
                              </a:lnTo>
                              <a:lnTo>
                                <a:pt x="49" y="47"/>
                              </a:lnTo>
                              <a:lnTo>
                                <a:pt x="43" y="47"/>
                              </a:lnTo>
                              <a:lnTo>
                                <a:pt x="35" y="71"/>
                              </a:lnTo>
                              <a:lnTo>
                                <a:pt x="22" y="81"/>
                              </a:lnTo>
                              <a:lnTo>
                                <a:pt x="14" y="87"/>
                              </a:lnTo>
                              <a:lnTo>
                                <a:pt x="22" y="101"/>
                              </a:lnTo>
                              <a:lnTo>
                                <a:pt x="14" y="105"/>
                              </a:ln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44" name="Freeform 32"/>
                        <p:cNvSpPr>
                          <a:spLocks/>
                        </p:cNvSpPr>
                        <p:nvPr/>
                      </p:nvSpPr>
                      <p:spPr bwMode="auto">
                        <a:xfrm>
                          <a:off x="3273284" y="2188161"/>
                          <a:ext cx="340813" cy="400455"/>
                        </a:xfrm>
                        <a:custGeom>
                          <a:avLst/>
                          <a:gdLst>
                            <a:gd name="T0" fmla="*/ 2147483647 w 184"/>
                            <a:gd name="T1" fmla="*/ 2147483647 h 188"/>
                            <a:gd name="T2" fmla="*/ 2147483647 w 184"/>
                            <a:gd name="T3" fmla="*/ 2147483647 h 188"/>
                            <a:gd name="T4" fmla="*/ 2147483647 w 184"/>
                            <a:gd name="T5" fmla="*/ 2147483647 h 188"/>
                            <a:gd name="T6" fmla="*/ 2147483647 w 184"/>
                            <a:gd name="T7" fmla="*/ 2147483647 h 188"/>
                            <a:gd name="T8" fmla="*/ 2147483647 w 184"/>
                            <a:gd name="T9" fmla="*/ 2147483647 h 188"/>
                            <a:gd name="T10" fmla="*/ 2147483647 w 184"/>
                            <a:gd name="T11" fmla="*/ 2147483647 h 188"/>
                            <a:gd name="T12" fmla="*/ 2147483647 w 184"/>
                            <a:gd name="T13" fmla="*/ 2147483647 h 188"/>
                            <a:gd name="T14" fmla="*/ 2147483647 w 184"/>
                            <a:gd name="T15" fmla="*/ 2147483647 h 188"/>
                            <a:gd name="T16" fmla="*/ 2147483647 w 184"/>
                            <a:gd name="T17" fmla="*/ 2147483647 h 188"/>
                            <a:gd name="T18" fmla="*/ 2147483647 w 184"/>
                            <a:gd name="T19" fmla="*/ 2147483647 h 188"/>
                            <a:gd name="T20" fmla="*/ 2147483647 w 184"/>
                            <a:gd name="T21" fmla="*/ 2147483647 h 188"/>
                            <a:gd name="T22" fmla="*/ 2147483647 w 184"/>
                            <a:gd name="T23" fmla="*/ 2147483647 h 188"/>
                            <a:gd name="T24" fmla="*/ 2147483647 w 184"/>
                            <a:gd name="T25" fmla="*/ 2147483647 h 188"/>
                            <a:gd name="T26" fmla="*/ 2147483647 w 184"/>
                            <a:gd name="T27" fmla="*/ 2147483647 h 188"/>
                            <a:gd name="T28" fmla="*/ 2147483647 w 184"/>
                            <a:gd name="T29" fmla="*/ 2147483647 h 188"/>
                            <a:gd name="T30" fmla="*/ 2147483647 w 184"/>
                            <a:gd name="T31" fmla="*/ 2147483647 h 188"/>
                            <a:gd name="T32" fmla="*/ 2147483647 w 184"/>
                            <a:gd name="T33" fmla="*/ 2147483647 h 188"/>
                            <a:gd name="T34" fmla="*/ 2147483647 w 184"/>
                            <a:gd name="T35" fmla="*/ 2147483647 h 188"/>
                            <a:gd name="T36" fmla="*/ 2147483647 w 184"/>
                            <a:gd name="T37" fmla="*/ 2147483647 h 188"/>
                            <a:gd name="T38" fmla="*/ 2147483647 w 184"/>
                            <a:gd name="T39" fmla="*/ 2147483647 h 188"/>
                            <a:gd name="T40" fmla="*/ 2147483647 w 184"/>
                            <a:gd name="T41" fmla="*/ 2147483647 h 188"/>
                            <a:gd name="T42" fmla="*/ 2147483647 w 184"/>
                            <a:gd name="T43" fmla="*/ 2147483647 h 188"/>
                            <a:gd name="T44" fmla="*/ 2147483647 w 184"/>
                            <a:gd name="T45" fmla="*/ 2147483647 h 188"/>
                            <a:gd name="T46" fmla="*/ 2147483647 w 184"/>
                            <a:gd name="T47" fmla="*/ 2147483647 h 188"/>
                            <a:gd name="T48" fmla="*/ 2147483647 w 184"/>
                            <a:gd name="T49" fmla="*/ 2147483647 h 188"/>
                            <a:gd name="T50" fmla="*/ 2147483647 w 184"/>
                            <a:gd name="T51" fmla="*/ 2147483647 h 188"/>
                            <a:gd name="T52" fmla="*/ 2147483647 w 184"/>
                            <a:gd name="T53" fmla="*/ 2147483647 h 188"/>
                            <a:gd name="T54" fmla="*/ 2147483647 w 184"/>
                            <a:gd name="T55" fmla="*/ 2147483647 h 188"/>
                            <a:gd name="T56" fmla="*/ 2147483647 w 184"/>
                            <a:gd name="T57" fmla="*/ 2147483647 h 188"/>
                            <a:gd name="T58" fmla="*/ 2147483647 w 184"/>
                            <a:gd name="T59" fmla="*/ 2147483647 h 188"/>
                            <a:gd name="T60" fmla="*/ 2147483647 w 184"/>
                            <a:gd name="T61" fmla="*/ 2147483647 h 188"/>
                            <a:gd name="T62" fmla="*/ 2147483647 w 184"/>
                            <a:gd name="T63" fmla="*/ 2147483647 h 188"/>
                            <a:gd name="T64" fmla="*/ 2147483647 w 184"/>
                            <a:gd name="T65" fmla="*/ 2147483647 h 188"/>
                            <a:gd name="T66" fmla="*/ 2147483647 w 184"/>
                            <a:gd name="T67" fmla="*/ 2147483647 h 188"/>
                            <a:gd name="T68" fmla="*/ 2147483647 w 184"/>
                            <a:gd name="T69" fmla="*/ 2147483647 h 188"/>
                            <a:gd name="T70" fmla="*/ 2147483647 w 184"/>
                            <a:gd name="T71" fmla="*/ 2147483647 h 188"/>
                            <a:gd name="T72" fmla="*/ 2147483647 w 184"/>
                            <a:gd name="T73" fmla="*/ 2147483647 h 188"/>
                            <a:gd name="T74" fmla="*/ 2147483647 w 184"/>
                            <a:gd name="T75" fmla="*/ 2147483647 h 188"/>
                            <a:gd name="T76" fmla="*/ 2147483647 w 184"/>
                            <a:gd name="T77" fmla="*/ 2147483647 h 188"/>
                            <a:gd name="T78" fmla="*/ 2147483647 w 184"/>
                            <a:gd name="T79" fmla="*/ 2147483647 h 188"/>
                            <a:gd name="T80" fmla="*/ 2147483647 w 184"/>
                            <a:gd name="T81" fmla="*/ 2147483647 h 188"/>
                            <a:gd name="T82" fmla="*/ 2147483647 w 184"/>
                            <a:gd name="T83" fmla="*/ 2147483647 h 188"/>
                            <a:gd name="T84" fmla="*/ 2147483647 w 184"/>
                            <a:gd name="T85" fmla="*/ 2147483647 h 188"/>
                            <a:gd name="T86" fmla="*/ 2147483647 w 184"/>
                            <a:gd name="T87" fmla="*/ 2147483647 h 188"/>
                            <a:gd name="T88" fmla="*/ 2147483647 w 184"/>
                            <a:gd name="T89" fmla="*/ 2147483647 h 188"/>
                            <a:gd name="T90" fmla="*/ 2147483647 w 184"/>
                            <a:gd name="T91" fmla="*/ 2147483647 h 188"/>
                            <a:gd name="T92" fmla="*/ 2147483647 w 184"/>
                            <a:gd name="T93" fmla="*/ 2147483647 h 188"/>
                            <a:gd name="T94" fmla="*/ 2147483647 w 184"/>
                            <a:gd name="T95" fmla="*/ 2147483647 h 188"/>
                            <a:gd name="T96" fmla="*/ 2147483647 w 184"/>
                            <a:gd name="T97" fmla="*/ 2147483647 h 188"/>
                            <a:gd name="T98" fmla="*/ 2147483647 w 184"/>
                            <a:gd name="T99" fmla="*/ 2147483647 h 188"/>
                            <a:gd name="T100" fmla="*/ 2147483647 w 184"/>
                            <a:gd name="T101" fmla="*/ 2147483647 h 188"/>
                            <a:gd name="T102" fmla="*/ 2147483647 w 184"/>
                            <a:gd name="T103" fmla="*/ 2147483647 h 188"/>
                            <a:gd name="T104" fmla="*/ 2147483647 w 184"/>
                            <a:gd name="T105" fmla="*/ 2147483647 h 188"/>
                            <a:gd name="T106" fmla="*/ 2147483647 w 184"/>
                            <a:gd name="T107" fmla="*/ 2147483647 h 188"/>
                            <a:gd name="T108" fmla="*/ 2147483647 w 184"/>
                            <a:gd name="T109" fmla="*/ 2147483647 h 188"/>
                            <a:gd name="T110" fmla="*/ 2147483647 w 184"/>
                            <a:gd name="T111" fmla="*/ 2147483647 h 1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84"/>
                            <a:gd name="T169" fmla="*/ 0 h 188"/>
                            <a:gd name="T170" fmla="*/ 184 w 184"/>
                            <a:gd name="T171" fmla="*/ 188 h 1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84" h="188">
                              <a:moveTo>
                                <a:pt x="145" y="18"/>
                              </a:moveTo>
                              <a:cubicBezTo>
                                <a:pt x="143" y="11"/>
                                <a:pt x="144" y="14"/>
                                <a:pt x="141" y="9"/>
                              </a:cubicBezTo>
                              <a:cubicBezTo>
                                <a:pt x="135" y="11"/>
                                <a:pt x="134" y="12"/>
                                <a:pt x="127" y="13"/>
                              </a:cubicBezTo>
                              <a:cubicBezTo>
                                <a:pt x="125" y="19"/>
                                <a:pt x="112" y="15"/>
                                <a:pt x="106" y="14"/>
                              </a:cubicBezTo>
                              <a:cubicBezTo>
                                <a:pt x="103" y="9"/>
                                <a:pt x="101" y="9"/>
                                <a:pt x="95" y="8"/>
                              </a:cubicBezTo>
                              <a:cubicBezTo>
                                <a:pt x="92" y="0"/>
                                <a:pt x="95" y="6"/>
                                <a:pt x="79" y="4"/>
                              </a:cubicBezTo>
                              <a:cubicBezTo>
                                <a:pt x="77" y="4"/>
                                <a:pt x="73" y="2"/>
                                <a:pt x="73" y="2"/>
                              </a:cubicBezTo>
                              <a:cubicBezTo>
                                <a:pt x="54" y="4"/>
                                <a:pt x="64" y="0"/>
                                <a:pt x="66" y="7"/>
                              </a:cubicBezTo>
                              <a:cubicBezTo>
                                <a:pt x="64" y="18"/>
                                <a:pt x="63" y="20"/>
                                <a:pt x="55" y="25"/>
                              </a:cubicBezTo>
                              <a:cubicBezTo>
                                <a:pt x="54" y="28"/>
                                <a:pt x="52" y="34"/>
                                <a:pt x="52" y="34"/>
                              </a:cubicBezTo>
                              <a:cubicBezTo>
                                <a:pt x="59" y="36"/>
                                <a:pt x="59" y="45"/>
                                <a:pt x="51" y="43"/>
                              </a:cubicBezTo>
                              <a:cubicBezTo>
                                <a:pt x="36" y="44"/>
                                <a:pt x="35" y="41"/>
                                <a:pt x="37" y="53"/>
                              </a:cubicBezTo>
                              <a:cubicBezTo>
                                <a:pt x="36" y="62"/>
                                <a:pt x="35" y="64"/>
                                <a:pt x="30" y="71"/>
                              </a:cubicBezTo>
                              <a:cubicBezTo>
                                <a:pt x="29" y="78"/>
                                <a:pt x="28" y="76"/>
                                <a:pt x="22" y="78"/>
                              </a:cubicBezTo>
                              <a:cubicBezTo>
                                <a:pt x="20" y="84"/>
                                <a:pt x="16" y="85"/>
                                <a:pt x="10" y="86"/>
                              </a:cubicBezTo>
                              <a:cubicBezTo>
                                <a:pt x="10" y="89"/>
                                <a:pt x="10" y="92"/>
                                <a:pt x="9" y="95"/>
                              </a:cubicBezTo>
                              <a:cubicBezTo>
                                <a:pt x="8" y="97"/>
                                <a:pt x="3" y="99"/>
                                <a:pt x="3" y="99"/>
                              </a:cubicBezTo>
                              <a:cubicBezTo>
                                <a:pt x="0" y="108"/>
                                <a:pt x="4" y="108"/>
                                <a:pt x="11" y="110"/>
                              </a:cubicBezTo>
                              <a:cubicBezTo>
                                <a:pt x="12" y="114"/>
                                <a:pt x="14" y="115"/>
                                <a:pt x="18" y="116"/>
                              </a:cubicBezTo>
                              <a:cubicBezTo>
                                <a:pt x="19" y="123"/>
                                <a:pt x="18" y="124"/>
                                <a:pt x="26" y="125"/>
                              </a:cubicBezTo>
                              <a:cubicBezTo>
                                <a:pt x="26" y="132"/>
                                <a:pt x="24" y="142"/>
                                <a:pt x="31" y="144"/>
                              </a:cubicBezTo>
                              <a:cubicBezTo>
                                <a:pt x="39" y="141"/>
                                <a:pt x="35" y="142"/>
                                <a:pt x="42" y="143"/>
                              </a:cubicBezTo>
                              <a:cubicBezTo>
                                <a:pt x="44" y="145"/>
                                <a:pt x="42" y="152"/>
                                <a:pt x="42" y="152"/>
                              </a:cubicBezTo>
                              <a:cubicBezTo>
                                <a:pt x="42" y="153"/>
                                <a:pt x="42" y="154"/>
                                <a:pt x="43" y="155"/>
                              </a:cubicBezTo>
                              <a:cubicBezTo>
                                <a:pt x="44" y="156"/>
                                <a:pt x="45" y="155"/>
                                <a:pt x="46" y="156"/>
                              </a:cubicBezTo>
                              <a:cubicBezTo>
                                <a:pt x="50" y="164"/>
                                <a:pt x="47" y="173"/>
                                <a:pt x="55" y="179"/>
                              </a:cubicBezTo>
                              <a:cubicBezTo>
                                <a:pt x="59" y="177"/>
                                <a:pt x="71" y="178"/>
                                <a:pt x="75" y="178"/>
                              </a:cubicBezTo>
                              <a:cubicBezTo>
                                <a:pt x="76" y="174"/>
                                <a:pt x="80" y="170"/>
                                <a:pt x="83" y="168"/>
                              </a:cubicBezTo>
                              <a:cubicBezTo>
                                <a:pt x="93" y="170"/>
                                <a:pt x="87" y="178"/>
                                <a:pt x="97" y="181"/>
                              </a:cubicBezTo>
                              <a:cubicBezTo>
                                <a:pt x="113" y="180"/>
                                <a:pt x="104" y="179"/>
                                <a:pt x="113" y="176"/>
                              </a:cubicBezTo>
                              <a:cubicBezTo>
                                <a:pt x="126" y="178"/>
                                <a:pt x="115" y="185"/>
                                <a:pt x="125" y="188"/>
                              </a:cubicBezTo>
                              <a:cubicBezTo>
                                <a:pt x="136" y="184"/>
                                <a:pt x="128" y="182"/>
                                <a:pt x="135" y="180"/>
                              </a:cubicBezTo>
                              <a:cubicBezTo>
                                <a:pt x="140" y="173"/>
                                <a:pt x="134" y="177"/>
                                <a:pt x="142" y="171"/>
                              </a:cubicBezTo>
                              <a:cubicBezTo>
                                <a:pt x="143" y="167"/>
                                <a:pt x="149" y="164"/>
                                <a:pt x="142" y="162"/>
                              </a:cubicBezTo>
                              <a:cubicBezTo>
                                <a:pt x="140" y="157"/>
                                <a:pt x="141" y="149"/>
                                <a:pt x="146" y="147"/>
                              </a:cubicBezTo>
                              <a:cubicBezTo>
                                <a:pt x="147" y="146"/>
                                <a:pt x="147" y="145"/>
                                <a:pt x="148" y="144"/>
                              </a:cubicBezTo>
                              <a:cubicBezTo>
                                <a:pt x="149" y="143"/>
                                <a:pt x="150" y="144"/>
                                <a:pt x="151" y="143"/>
                              </a:cubicBezTo>
                              <a:cubicBezTo>
                                <a:pt x="156" y="136"/>
                                <a:pt x="151" y="137"/>
                                <a:pt x="159" y="134"/>
                              </a:cubicBezTo>
                              <a:cubicBezTo>
                                <a:pt x="162" y="133"/>
                                <a:pt x="165" y="132"/>
                                <a:pt x="168" y="131"/>
                              </a:cubicBezTo>
                              <a:cubicBezTo>
                                <a:pt x="169" y="131"/>
                                <a:pt x="171" y="130"/>
                                <a:pt x="171" y="130"/>
                              </a:cubicBezTo>
                              <a:cubicBezTo>
                                <a:pt x="173" y="125"/>
                                <a:pt x="171" y="118"/>
                                <a:pt x="168" y="113"/>
                              </a:cubicBezTo>
                              <a:cubicBezTo>
                                <a:pt x="169" y="110"/>
                                <a:pt x="171" y="107"/>
                                <a:pt x="172" y="104"/>
                              </a:cubicBezTo>
                              <a:cubicBezTo>
                                <a:pt x="171" y="99"/>
                                <a:pt x="172" y="96"/>
                                <a:pt x="167" y="94"/>
                              </a:cubicBezTo>
                              <a:cubicBezTo>
                                <a:pt x="165" y="87"/>
                                <a:pt x="168" y="82"/>
                                <a:pt x="175" y="80"/>
                              </a:cubicBezTo>
                              <a:cubicBezTo>
                                <a:pt x="177" y="74"/>
                                <a:pt x="175" y="68"/>
                                <a:pt x="181" y="64"/>
                              </a:cubicBezTo>
                              <a:cubicBezTo>
                                <a:pt x="184" y="54"/>
                                <a:pt x="180" y="53"/>
                                <a:pt x="172" y="52"/>
                              </a:cubicBezTo>
                              <a:cubicBezTo>
                                <a:pt x="165" y="47"/>
                                <a:pt x="168" y="49"/>
                                <a:pt x="163" y="47"/>
                              </a:cubicBezTo>
                              <a:cubicBezTo>
                                <a:pt x="161" y="45"/>
                                <a:pt x="157" y="41"/>
                                <a:pt x="155" y="40"/>
                              </a:cubicBezTo>
                              <a:cubicBezTo>
                                <a:pt x="153" y="39"/>
                                <a:pt x="149" y="38"/>
                                <a:pt x="149" y="38"/>
                              </a:cubicBezTo>
                              <a:cubicBezTo>
                                <a:pt x="129" y="40"/>
                                <a:pt x="141" y="40"/>
                                <a:pt x="130" y="47"/>
                              </a:cubicBezTo>
                              <a:cubicBezTo>
                                <a:pt x="117" y="46"/>
                                <a:pt x="122" y="47"/>
                                <a:pt x="113" y="44"/>
                              </a:cubicBezTo>
                              <a:cubicBezTo>
                                <a:pt x="112" y="44"/>
                                <a:pt x="110" y="43"/>
                                <a:pt x="110" y="43"/>
                              </a:cubicBezTo>
                              <a:cubicBezTo>
                                <a:pt x="113" y="29"/>
                                <a:pt x="111" y="31"/>
                                <a:pt x="128" y="30"/>
                              </a:cubicBezTo>
                              <a:cubicBezTo>
                                <a:pt x="132" y="29"/>
                                <a:pt x="139" y="24"/>
                                <a:pt x="139" y="24"/>
                              </a:cubicBezTo>
                              <a:cubicBezTo>
                                <a:pt x="133" y="22"/>
                                <a:pt x="138" y="20"/>
                                <a:pt x="141" y="19"/>
                              </a:cubicBezTo>
                              <a:cubicBezTo>
                                <a:pt x="139" y="13"/>
                                <a:pt x="140" y="14"/>
                                <a:pt x="138" y="12"/>
                              </a:cubicBezTo>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45" name="Freeform 33"/>
                        <p:cNvSpPr>
                          <a:spLocks noChangeArrowheads="1"/>
                        </p:cNvSpPr>
                        <p:nvPr/>
                      </p:nvSpPr>
                      <p:spPr bwMode="auto">
                        <a:xfrm>
                          <a:off x="3112576" y="2490892"/>
                          <a:ext cx="383299" cy="472685"/>
                        </a:xfrm>
                        <a:custGeom>
                          <a:avLst/>
                          <a:gdLst>
                            <a:gd name="T0" fmla="*/ 2147483647 w 207"/>
                            <a:gd name="T1" fmla="*/ 2147483647 h 222"/>
                            <a:gd name="T2" fmla="*/ 2147483647 w 207"/>
                            <a:gd name="T3" fmla="*/ 2147483647 h 222"/>
                            <a:gd name="T4" fmla="*/ 2147483647 w 207"/>
                            <a:gd name="T5" fmla="*/ 2147483647 h 222"/>
                            <a:gd name="T6" fmla="*/ 2147483647 w 207"/>
                            <a:gd name="T7" fmla="*/ 2147483647 h 222"/>
                            <a:gd name="T8" fmla="*/ 2147483647 w 207"/>
                            <a:gd name="T9" fmla="*/ 2147483647 h 222"/>
                            <a:gd name="T10" fmla="*/ 2147483647 w 207"/>
                            <a:gd name="T11" fmla="*/ 2147483647 h 222"/>
                            <a:gd name="T12" fmla="*/ 2147483647 w 207"/>
                            <a:gd name="T13" fmla="*/ 2147483647 h 222"/>
                            <a:gd name="T14" fmla="*/ 2147483647 w 207"/>
                            <a:gd name="T15" fmla="*/ 2147483647 h 222"/>
                            <a:gd name="T16" fmla="*/ 2147483647 w 207"/>
                            <a:gd name="T17" fmla="*/ 2147483647 h 222"/>
                            <a:gd name="T18" fmla="*/ 2147483647 w 207"/>
                            <a:gd name="T19" fmla="*/ 2147483647 h 222"/>
                            <a:gd name="T20" fmla="*/ 2147483647 w 207"/>
                            <a:gd name="T21" fmla="*/ 2147483647 h 222"/>
                            <a:gd name="T22" fmla="*/ 2147483647 w 207"/>
                            <a:gd name="T23" fmla="*/ 2147483647 h 222"/>
                            <a:gd name="T24" fmla="*/ 2147483647 w 207"/>
                            <a:gd name="T25" fmla="*/ 2147483647 h 222"/>
                            <a:gd name="T26" fmla="*/ 2147483647 w 207"/>
                            <a:gd name="T27" fmla="*/ 2147483647 h 222"/>
                            <a:gd name="T28" fmla="*/ 2147483647 w 207"/>
                            <a:gd name="T29" fmla="*/ 2147483647 h 222"/>
                            <a:gd name="T30" fmla="*/ 2147483647 w 207"/>
                            <a:gd name="T31" fmla="*/ 2147483647 h 222"/>
                            <a:gd name="T32" fmla="*/ 2147483647 w 207"/>
                            <a:gd name="T33" fmla="*/ 2147483647 h 222"/>
                            <a:gd name="T34" fmla="*/ 2147483647 w 207"/>
                            <a:gd name="T35" fmla="*/ 2147483647 h 222"/>
                            <a:gd name="T36" fmla="*/ 2147483647 w 207"/>
                            <a:gd name="T37" fmla="*/ 2147483647 h 222"/>
                            <a:gd name="T38" fmla="*/ 2147483647 w 207"/>
                            <a:gd name="T39" fmla="*/ 2147483647 h 222"/>
                            <a:gd name="T40" fmla="*/ 2147483647 w 207"/>
                            <a:gd name="T41" fmla="*/ 2147483647 h 222"/>
                            <a:gd name="T42" fmla="*/ 2147483647 w 207"/>
                            <a:gd name="T43" fmla="*/ 2147483647 h 222"/>
                            <a:gd name="T44" fmla="*/ 2147483647 w 207"/>
                            <a:gd name="T45" fmla="*/ 2147483647 h 222"/>
                            <a:gd name="T46" fmla="*/ 2147483647 w 207"/>
                            <a:gd name="T47" fmla="*/ 2147483647 h 222"/>
                            <a:gd name="T48" fmla="*/ 2147483647 w 207"/>
                            <a:gd name="T49" fmla="*/ 2147483647 h 222"/>
                            <a:gd name="T50" fmla="*/ 2147483647 w 207"/>
                            <a:gd name="T51" fmla="*/ 2147483647 h 222"/>
                            <a:gd name="T52" fmla="*/ 2147483647 w 207"/>
                            <a:gd name="T53" fmla="*/ 2147483647 h 222"/>
                            <a:gd name="T54" fmla="*/ 2147483647 w 207"/>
                            <a:gd name="T55" fmla="*/ 2147483647 h 222"/>
                            <a:gd name="T56" fmla="*/ 2147483647 w 207"/>
                            <a:gd name="T57" fmla="*/ 2147483647 h 222"/>
                            <a:gd name="T58" fmla="*/ 2147483647 w 207"/>
                            <a:gd name="T59" fmla="*/ 2147483647 h 222"/>
                            <a:gd name="T60" fmla="*/ 2147483647 w 207"/>
                            <a:gd name="T61" fmla="*/ 2147483647 h 222"/>
                            <a:gd name="T62" fmla="*/ 2147483647 w 207"/>
                            <a:gd name="T63" fmla="*/ 2147483647 h 222"/>
                            <a:gd name="T64" fmla="*/ 2147483647 w 207"/>
                            <a:gd name="T65" fmla="*/ 2147483647 h 222"/>
                            <a:gd name="T66" fmla="*/ 2147483647 w 207"/>
                            <a:gd name="T67" fmla="*/ 2147483647 h 222"/>
                            <a:gd name="T68" fmla="*/ 2147483647 w 207"/>
                            <a:gd name="T69" fmla="*/ 2147483647 h 222"/>
                            <a:gd name="T70" fmla="*/ 2147483647 w 207"/>
                            <a:gd name="T71" fmla="*/ 2147483647 h 222"/>
                            <a:gd name="T72" fmla="*/ 2147483647 w 207"/>
                            <a:gd name="T73" fmla="*/ 2147483647 h 222"/>
                            <a:gd name="T74" fmla="*/ 2147483647 w 207"/>
                            <a:gd name="T75" fmla="*/ 2147483647 h 222"/>
                            <a:gd name="T76" fmla="*/ 2147483647 w 207"/>
                            <a:gd name="T77" fmla="*/ 2147483647 h 222"/>
                            <a:gd name="T78" fmla="*/ 2147483647 w 207"/>
                            <a:gd name="T79" fmla="*/ 2147483647 h 222"/>
                            <a:gd name="T80" fmla="*/ 2147483647 w 207"/>
                            <a:gd name="T81" fmla="*/ 2147483647 h 222"/>
                            <a:gd name="T82" fmla="*/ 2147483647 w 207"/>
                            <a:gd name="T83" fmla="*/ 2147483647 h 222"/>
                            <a:gd name="T84" fmla="*/ 2147483647 w 207"/>
                            <a:gd name="T85" fmla="*/ 0 h 222"/>
                            <a:gd name="T86" fmla="*/ 2147483647 w 207"/>
                            <a:gd name="T87" fmla="*/ 2147483647 h 222"/>
                            <a:gd name="T88" fmla="*/ 2147483647 w 207"/>
                            <a:gd name="T89" fmla="*/ 2147483647 h 222"/>
                            <a:gd name="T90" fmla="*/ 2147483647 w 207"/>
                            <a:gd name="T91" fmla="*/ 2147483647 h 222"/>
                            <a:gd name="T92" fmla="*/ 2147483647 w 207"/>
                            <a:gd name="T93" fmla="*/ 2147483647 h 222"/>
                            <a:gd name="T94" fmla="*/ 2147483647 w 207"/>
                            <a:gd name="T95" fmla="*/ 2147483647 h 222"/>
                            <a:gd name="T96" fmla="*/ 2147483647 w 207"/>
                            <a:gd name="T97" fmla="*/ 2147483647 h 222"/>
                            <a:gd name="T98" fmla="*/ 2147483647 w 207"/>
                            <a:gd name="T99" fmla="*/ 2147483647 h 222"/>
                            <a:gd name="T100" fmla="*/ 2147483647 w 207"/>
                            <a:gd name="T101" fmla="*/ 2147483647 h 222"/>
                            <a:gd name="T102" fmla="*/ 2147483647 w 207"/>
                            <a:gd name="T103" fmla="*/ 2147483647 h 22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7"/>
                            <a:gd name="T157" fmla="*/ 0 h 222"/>
                            <a:gd name="T158" fmla="*/ 207 w 207"/>
                            <a:gd name="T159" fmla="*/ 222 h 22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7" h="222">
                              <a:moveTo>
                                <a:pt x="207" y="45"/>
                              </a:moveTo>
                              <a:cubicBezTo>
                                <a:pt x="205" y="51"/>
                                <a:pt x="205" y="56"/>
                                <a:pt x="200" y="59"/>
                              </a:cubicBezTo>
                              <a:cubicBezTo>
                                <a:pt x="198" y="62"/>
                                <a:pt x="197" y="65"/>
                                <a:pt x="195" y="68"/>
                              </a:cubicBezTo>
                              <a:cubicBezTo>
                                <a:pt x="191" y="67"/>
                                <a:pt x="188" y="65"/>
                                <a:pt x="184" y="64"/>
                              </a:cubicBezTo>
                              <a:cubicBezTo>
                                <a:pt x="177" y="66"/>
                                <a:pt x="175" y="77"/>
                                <a:pt x="183" y="80"/>
                              </a:cubicBezTo>
                              <a:cubicBezTo>
                                <a:pt x="185" y="86"/>
                                <a:pt x="187" y="96"/>
                                <a:pt x="180" y="98"/>
                              </a:cubicBezTo>
                              <a:cubicBezTo>
                                <a:pt x="175" y="105"/>
                                <a:pt x="173" y="106"/>
                                <a:pt x="184" y="108"/>
                              </a:cubicBezTo>
                              <a:cubicBezTo>
                                <a:pt x="186" y="121"/>
                                <a:pt x="190" y="110"/>
                                <a:pt x="188" y="125"/>
                              </a:cubicBezTo>
                              <a:cubicBezTo>
                                <a:pt x="179" y="124"/>
                                <a:pt x="178" y="123"/>
                                <a:pt x="171" y="125"/>
                              </a:cubicBezTo>
                              <a:cubicBezTo>
                                <a:pt x="169" y="126"/>
                                <a:pt x="165" y="127"/>
                                <a:pt x="165" y="127"/>
                              </a:cubicBezTo>
                              <a:cubicBezTo>
                                <a:pt x="162" y="135"/>
                                <a:pt x="164" y="139"/>
                                <a:pt x="155" y="140"/>
                              </a:cubicBezTo>
                              <a:cubicBezTo>
                                <a:pt x="154" y="144"/>
                                <a:pt x="152" y="145"/>
                                <a:pt x="148" y="146"/>
                              </a:cubicBezTo>
                              <a:cubicBezTo>
                                <a:pt x="149" y="152"/>
                                <a:pt x="152" y="159"/>
                                <a:pt x="147" y="162"/>
                              </a:cubicBezTo>
                              <a:cubicBezTo>
                                <a:pt x="144" y="167"/>
                                <a:pt x="145" y="175"/>
                                <a:pt x="139" y="177"/>
                              </a:cubicBezTo>
                              <a:cubicBezTo>
                                <a:pt x="130" y="174"/>
                                <a:pt x="135" y="175"/>
                                <a:pt x="123" y="176"/>
                              </a:cubicBezTo>
                              <a:cubicBezTo>
                                <a:pt x="118" y="178"/>
                                <a:pt x="121" y="180"/>
                                <a:pt x="115" y="181"/>
                              </a:cubicBezTo>
                              <a:cubicBezTo>
                                <a:pt x="113" y="188"/>
                                <a:pt x="111" y="186"/>
                                <a:pt x="116" y="188"/>
                              </a:cubicBezTo>
                              <a:cubicBezTo>
                                <a:pt x="114" y="197"/>
                                <a:pt x="117" y="189"/>
                                <a:pt x="101" y="193"/>
                              </a:cubicBezTo>
                              <a:cubicBezTo>
                                <a:pt x="98" y="194"/>
                                <a:pt x="98" y="199"/>
                                <a:pt x="97" y="202"/>
                              </a:cubicBezTo>
                              <a:cubicBezTo>
                                <a:pt x="96" y="206"/>
                                <a:pt x="90" y="204"/>
                                <a:pt x="86" y="205"/>
                              </a:cubicBezTo>
                              <a:cubicBezTo>
                                <a:pt x="82" y="212"/>
                                <a:pt x="79" y="213"/>
                                <a:pt x="73" y="217"/>
                              </a:cubicBezTo>
                              <a:cubicBezTo>
                                <a:pt x="71" y="222"/>
                                <a:pt x="68" y="219"/>
                                <a:pt x="64" y="218"/>
                              </a:cubicBezTo>
                              <a:cubicBezTo>
                                <a:pt x="63" y="214"/>
                                <a:pt x="62" y="211"/>
                                <a:pt x="60" y="207"/>
                              </a:cubicBezTo>
                              <a:cubicBezTo>
                                <a:pt x="59" y="205"/>
                                <a:pt x="58" y="201"/>
                                <a:pt x="58" y="201"/>
                              </a:cubicBezTo>
                              <a:cubicBezTo>
                                <a:pt x="59" y="198"/>
                                <a:pt x="60" y="193"/>
                                <a:pt x="57" y="190"/>
                              </a:cubicBezTo>
                              <a:cubicBezTo>
                                <a:pt x="55" y="188"/>
                                <a:pt x="51" y="186"/>
                                <a:pt x="51" y="186"/>
                              </a:cubicBezTo>
                              <a:cubicBezTo>
                                <a:pt x="49" y="182"/>
                                <a:pt x="47" y="177"/>
                                <a:pt x="43" y="175"/>
                              </a:cubicBezTo>
                              <a:cubicBezTo>
                                <a:pt x="40" y="176"/>
                                <a:pt x="37" y="179"/>
                                <a:pt x="35" y="178"/>
                              </a:cubicBezTo>
                              <a:cubicBezTo>
                                <a:pt x="21" y="170"/>
                                <a:pt x="41" y="172"/>
                                <a:pt x="16" y="170"/>
                              </a:cubicBezTo>
                              <a:cubicBezTo>
                                <a:pt x="12" y="167"/>
                                <a:pt x="9" y="165"/>
                                <a:pt x="4" y="163"/>
                              </a:cubicBezTo>
                              <a:cubicBezTo>
                                <a:pt x="2" y="157"/>
                                <a:pt x="0" y="149"/>
                                <a:pt x="7" y="147"/>
                              </a:cubicBezTo>
                              <a:cubicBezTo>
                                <a:pt x="13" y="139"/>
                                <a:pt x="4" y="123"/>
                                <a:pt x="14" y="120"/>
                              </a:cubicBezTo>
                              <a:cubicBezTo>
                                <a:pt x="17" y="116"/>
                                <a:pt x="18" y="116"/>
                                <a:pt x="22" y="114"/>
                              </a:cubicBezTo>
                              <a:cubicBezTo>
                                <a:pt x="24" y="113"/>
                                <a:pt x="28" y="110"/>
                                <a:pt x="28" y="110"/>
                              </a:cubicBezTo>
                              <a:cubicBezTo>
                                <a:pt x="27" y="103"/>
                                <a:pt x="25" y="107"/>
                                <a:pt x="23" y="101"/>
                              </a:cubicBezTo>
                              <a:cubicBezTo>
                                <a:pt x="30" y="99"/>
                                <a:pt x="23" y="95"/>
                                <a:pt x="34" y="92"/>
                              </a:cubicBezTo>
                              <a:cubicBezTo>
                                <a:pt x="33" y="86"/>
                                <a:pt x="32" y="84"/>
                                <a:pt x="30" y="79"/>
                              </a:cubicBezTo>
                              <a:cubicBezTo>
                                <a:pt x="32" y="65"/>
                                <a:pt x="40" y="69"/>
                                <a:pt x="49" y="63"/>
                              </a:cubicBezTo>
                              <a:cubicBezTo>
                                <a:pt x="55" y="46"/>
                                <a:pt x="44" y="31"/>
                                <a:pt x="65" y="28"/>
                              </a:cubicBezTo>
                              <a:cubicBezTo>
                                <a:pt x="67" y="21"/>
                                <a:pt x="65" y="23"/>
                                <a:pt x="70" y="20"/>
                              </a:cubicBezTo>
                              <a:cubicBezTo>
                                <a:pt x="78" y="21"/>
                                <a:pt x="79" y="22"/>
                                <a:pt x="88" y="21"/>
                              </a:cubicBezTo>
                              <a:cubicBezTo>
                                <a:pt x="99" y="14"/>
                                <a:pt x="88" y="13"/>
                                <a:pt x="105" y="11"/>
                              </a:cubicBezTo>
                              <a:cubicBezTo>
                                <a:pt x="111" y="7"/>
                                <a:pt x="117" y="3"/>
                                <a:pt x="125" y="0"/>
                              </a:cubicBezTo>
                              <a:cubicBezTo>
                                <a:pt x="135" y="2"/>
                                <a:pt x="126" y="16"/>
                                <a:pt x="135" y="22"/>
                              </a:cubicBezTo>
                              <a:cubicBezTo>
                                <a:pt x="136" y="26"/>
                                <a:pt x="134" y="32"/>
                                <a:pt x="137" y="35"/>
                              </a:cubicBezTo>
                              <a:cubicBezTo>
                                <a:pt x="138" y="36"/>
                                <a:pt x="143" y="37"/>
                                <a:pt x="143" y="37"/>
                              </a:cubicBezTo>
                              <a:cubicBezTo>
                                <a:pt x="149" y="37"/>
                                <a:pt x="155" y="38"/>
                                <a:pt x="161" y="36"/>
                              </a:cubicBezTo>
                              <a:cubicBezTo>
                                <a:pt x="163" y="35"/>
                                <a:pt x="163" y="31"/>
                                <a:pt x="165" y="30"/>
                              </a:cubicBezTo>
                              <a:cubicBezTo>
                                <a:pt x="167" y="29"/>
                                <a:pt x="171" y="28"/>
                                <a:pt x="171" y="28"/>
                              </a:cubicBezTo>
                              <a:cubicBezTo>
                                <a:pt x="173" y="34"/>
                                <a:pt x="175" y="31"/>
                                <a:pt x="176" y="38"/>
                              </a:cubicBezTo>
                              <a:cubicBezTo>
                                <a:pt x="183" y="38"/>
                                <a:pt x="197" y="35"/>
                                <a:pt x="206" y="37"/>
                              </a:cubicBezTo>
                              <a:cubicBezTo>
                                <a:pt x="206" y="40"/>
                                <a:pt x="205" y="54"/>
                                <a:pt x="207" y="45"/>
                              </a:cubicBez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46" name="Freeform 34"/>
                        <p:cNvSpPr>
                          <a:spLocks noChangeArrowheads="1"/>
                        </p:cNvSpPr>
                        <p:nvPr/>
                      </p:nvSpPr>
                      <p:spPr bwMode="auto">
                        <a:xfrm>
                          <a:off x="2986041" y="1873745"/>
                          <a:ext cx="407313" cy="506676"/>
                        </a:xfrm>
                        <a:custGeom>
                          <a:avLst/>
                          <a:gdLst>
                            <a:gd name="T0" fmla="*/ 2147483647 w 220"/>
                            <a:gd name="T1" fmla="*/ 2147483647 h 238"/>
                            <a:gd name="T2" fmla="*/ 2147483647 w 220"/>
                            <a:gd name="T3" fmla="*/ 2147483647 h 238"/>
                            <a:gd name="T4" fmla="*/ 2147483647 w 220"/>
                            <a:gd name="T5" fmla="*/ 2147483647 h 238"/>
                            <a:gd name="T6" fmla="*/ 2147483647 w 220"/>
                            <a:gd name="T7" fmla="*/ 2147483647 h 238"/>
                            <a:gd name="T8" fmla="*/ 2147483647 w 220"/>
                            <a:gd name="T9" fmla="*/ 2147483647 h 238"/>
                            <a:gd name="T10" fmla="*/ 2147483647 w 220"/>
                            <a:gd name="T11" fmla="*/ 2147483647 h 238"/>
                            <a:gd name="T12" fmla="*/ 2147483647 w 220"/>
                            <a:gd name="T13" fmla="*/ 2147483647 h 238"/>
                            <a:gd name="T14" fmla="*/ 2147483647 w 220"/>
                            <a:gd name="T15" fmla="*/ 2147483647 h 238"/>
                            <a:gd name="T16" fmla="*/ 2147483647 w 220"/>
                            <a:gd name="T17" fmla="*/ 2147483647 h 238"/>
                            <a:gd name="T18" fmla="*/ 0 w 220"/>
                            <a:gd name="T19" fmla="*/ 2147483647 h 238"/>
                            <a:gd name="T20" fmla="*/ 2147483647 w 220"/>
                            <a:gd name="T21" fmla="*/ 2147483647 h 238"/>
                            <a:gd name="T22" fmla="*/ 2147483647 w 220"/>
                            <a:gd name="T23" fmla="*/ 2147483647 h 238"/>
                            <a:gd name="T24" fmla="*/ 2147483647 w 220"/>
                            <a:gd name="T25" fmla="*/ 2147483647 h 238"/>
                            <a:gd name="T26" fmla="*/ 2147483647 w 220"/>
                            <a:gd name="T27" fmla="*/ 2147483647 h 238"/>
                            <a:gd name="T28" fmla="*/ 2147483647 w 220"/>
                            <a:gd name="T29" fmla="*/ 2147483647 h 238"/>
                            <a:gd name="T30" fmla="*/ 2147483647 w 220"/>
                            <a:gd name="T31" fmla="*/ 2147483647 h 238"/>
                            <a:gd name="T32" fmla="*/ 2147483647 w 220"/>
                            <a:gd name="T33" fmla="*/ 2147483647 h 238"/>
                            <a:gd name="T34" fmla="*/ 2147483647 w 220"/>
                            <a:gd name="T35" fmla="*/ 2147483647 h 238"/>
                            <a:gd name="T36" fmla="*/ 2147483647 w 220"/>
                            <a:gd name="T37" fmla="*/ 2147483647 h 238"/>
                            <a:gd name="T38" fmla="*/ 2147483647 w 220"/>
                            <a:gd name="T39" fmla="*/ 2147483647 h 238"/>
                            <a:gd name="T40" fmla="*/ 2147483647 w 220"/>
                            <a:gd name="T41" fmla="*/ 2147483647 h 238"/>
                            <a:gd name="T42" fmla="*/ 2147483647 w 220"/>
                            <a:gd name="T43" fmla="*/ 2147483647 h 238"/>
                            <a:gd name="T44" fmla="*/ 2147483647 w 220"/>
                            <a:gd name="T45" fmla="*/ 2147483647 h 238"/>
                            <a:gd name="T46" fmla="*/ 2147483647 w 220"/>
                            <a:gd name="T47" fmla="*/ 2147483647 h 238"/>
                            <a:gd name="T48" fmla="*/ 2147483647 w 220"/>
                            <a:gd name="T49" fmla="*/ 2147483647 h 238"/>
                            <a:gd name="T50" fmla="*/ 2147483647 w 220"/>
                            <a:gd name="T51" fmla="*/ 2147483647 h 238"/>
                            <a:gd name="T52" fmla="*/ 2147483647 w 220"/>
                            <a:gd name="T53" fmla="*/ 2147483647 h 238"/>
                            <a:gd name="T54" fmla="*/ 2147483647 w 220"/>
                            <a:gd name="T55" fmla="*/ 2147483647 h 238"/>
                            <a:gd name="T56" fmla="*/ 2147483647 w 220"/>
                            <a:gd name="T57" fmla="*/ 2147483647 h 238"/>
                            <a:gd name="T58" fmla="*/ 2147483647 w 220"/>
                            <a:gd name="T59" fmla="*/ 2147483647 h 238"/>
                            <a:gd name="T60" fmla="*/ 2147483647 w 220"/>
                            <a:gd name="T61" fmla="*/ 2147483647 h 238"/>
                            <a:gd name="T62" fmla="*/ 2147483647 w 220"/>
                            <a:gd name="T63" fmla="*/ 2147483647 h 238"/>
                            <a:gd name="T64" fmla="*/ 2147483647 w 220"/>
                            <a:gd name="T65" fmla="*/ 2147483647 h 238"/>
                            <a:gd name="T66" fmla="*/ 2147483647 w 220"/>
                            <a:gd name="T67" fmla="*/ 2147483647 h 238"/>
                            <a:gd name="T68" fmla="*/ 2147483647 w 220"/>
                            <a:gd name="T69" fmla="*/ 2147483647 h 238"/>
                            <a:gd name="T70" fmla="*/ 2147483647 w 220"/>
                            <a:gd name="T71" fmla="*/ 2147483647 h 238"/>
                            <a:gd name="T72" fmla="*/ 2147483647 w 220"/>
                            <a:gd name="T73" fmla="*/ 2147483647 h 238"/>
                            <a:gd name="T74" fmla="*/ 2147483647 w 220"/>
                            <a:gd name="T75" fmla="*/ 2147483647 h 238"/>
                            <a:gd name="T76" fmla="*/ 2147483647 w 220"/>
                            <a:gd name="T77" fmla="*/ 2147483647 h 238"/>
                            <a:gd name="T78" fmla="*/ 2147483647 w 220"/>
                            <a:gd name="T79" fmla="*/ 2147483647 h 238"/>
                            <a:gd name="T80" fmla="*/ 2147483647 w 220"/>
                            <a:gd name="T81" fmla="*/ 2147483647 h 238"/>
                            <a:gd name="T82" fmla="*/ 2147483647 w 220"/>
                            <a:gd name="T83" fmla="*/ 2147483647 h 238"/>
                            <a:gd name="T84" fmla="*/ 2147483647 w 220"/>
                            <a:gd name="T85" fmla="*/ 2147483647 h 238"/>
                            <a:gd name="T86" fmla="*/ 2147483647 w 220"/>
                            <a:gd name="T87" fmla="*/ 2147483647 h 238"/>
                            <a:gd name="T88" fmla="*/ 2147483647 w 220"/>
                            <a:gd name="T89" fmla="*/ 2147483647 h 238"/>
                            <a:gd name="T90" fmla="*/ 2147483647 w 220"/>
                            <a:gd name="T91" fmla="*/ 2147483647 h 238"/>
                            <a:gd name="T92" fmla="*/ 2147483647 w 220"/>
                            <a:gd name="T93" fmla="*/ 2147483647 h 238"/>
                            <a:gd name="T94" fmla="*/ 2147483647 w 220"/>
                            <a:gd name="T95" fmla="*/ 2147483647 h 238"/>
                            <a:gd name="T96" fmla="*/ 2147483647 w 220"/>
                            <a:gd name="T97" fmla="*/ 2147483647 h 238"/>
                            <a:gd name="T98" fmla="*/ 2147483647 w 220"/>
                            <a:gd name="T99" fmla="*/ 2147483647 h 238"/>
                            <a:gd name="T100" fmla="*/ 2147483647 w 220"/>
                            <a:gd name="T101" fmla="*/ 2147483647 h 238"/>
                            <a:gd name="T102" fmla="*/ 2147483647 w 220"/>
                            <a:gd name="T103" fmla="*/ 2147483647 h 238"/>
                            <a:gd name="T104" fmla="*/ 2147483647 w 220"/>
                            <a:gd name="T105" fmla="*/ 2147483647 h 238"/>
                            <a:gd name="T106" fmla="*/ 2147483647 w 220"/>
                            <a:gd name="T107" fmla="*/ 2147483647 h 238"/>
                            <a:gd name="T108" fmla="*/ 2147483647 w 220"/>
                            <a:gd name="T109" fmla="*/ 2147483647 h 238"/>
                            <a:gd name="T110" fmla="*/ 2147483647 w 220"/>
                            <a:gd name="T111" fmla="*/ 2147483647 h 238"/>
                            <a:gd name="T112" fmla="*/ 2147483647 w 220"/>
                            <a:gd name="T113" fmla="*/ 2147483647 h 238"/>
                            <a:gd name="T114" fmla="*/ 2147483647 w 220"/>
                            <a:gd name="T115" fmla="*/ 2147483647 h 23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20"/>
                            <a:gd name="T175" fmla="*/ 0 h 238"/>
                            <a:gd name="T176" fmla="*/ 220 w 220"/>
                            <a:gd name="T177" fmla="*/ 238 h 23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20" h="238">
                              <a:moveTo>
                                <a:pt x="53" y="6"/>
                              </a:moveTo>
                              <a:cubicBezTo>
                                <a:pt x="56" y="15"/>
                                <a:pt x="62" y="14"/>
                                <a:pt x="71" y="15"/>
                              </a:cubicBezTo>
                              <a:cubicBezTo>
                                <a:pt x="72" y="31"/>
                                <a:pt x="82" y="30"/>
                                <a:pt x="66" y="33"/>
                              </a:cubicBezTo>
                              <a:cubicBezTo>
                                <a:pt x="62" y="35"/>
                                <a:pt x="60" y="35"/>
                                <a:pt x="59" y="39"/>
                              </a:cubicBezTo>
                              <a:cubicBezTo>
                                <a:pt x="51" y="38"/>
                                <a:pt x="47" y="40"/>
                                <a:pt x="43" y="34"/>
                              </a:cubicBezTo>
                              <a:cubicBezTo>
                                <a:pt x="42" y="29"/>
                                <a:pt x="42" y="28"/>
                                <a:pt x="37" y="26"/>
                              </a:cubicBezTo>
                              <a:cubicBezTo>
                                <a:pt x="24" y="28"/>
                                <a:pt x="33" y="28"/>
                                <a:pt x="25" y="31"/>
                              </a:cubicBezTo>
                              <a:cubicBezTo>
                                <a:pt x="23" y="38"/>
                                <a:pt x="29" y="48"/>
                                <a:pt x="21" y="51"/>
                              </a:cubicBezTo>
                              <a:cubicBezTo>
                                <a:pt x="20" y="55"/>
                                <a:pt x="17" y="63"/>
                                <a:pt x="17" y="63"/>
                              </a:cubicBezTo>
                              <a:cubicBezTo>
                                <a:pt x="15" y="75"/>
                                <a:pt x="13" y="72"/>
                                <a:pt x="0" y="73"/>
                              </a:cubicBezTo>
                              <a:cubicBezTo>
                                <a:pt x="3" y="100"/>
                                <a:pt x="13" y="64"/>
                                <a:pt x="11" y="96"/>
                              </a:cubicBezTo>
                              <a:cubicBezTo>
                                <a:pt x="14" y="105"/>
                                <a:pt x="9" y="95"/>
                                <a:pt x="27" y="100"/>
                              </a:cubicBezTo>
                              <a:cubicBezTo>
                                <a:pt x="29" y="101"/>
                                <a:pt x="29" y="105"/>
                                <a:pt x="31" y="106"/>
                              </a:cubicBezTo>
                              <a:cubicBezTo>
                                <a:pt x="38" y="105"/>
                                <a:pt x="44" y="107"/>
                                <a:pt x="46" y="100"/>
                              </a:cubicBezTo>
                              <a:cubicBezTo>
                                <a:pt x="62" y="123"/>
                                <a:pt x="51" y="134"/>
                                <a:pt x="33" y="136"/>
                              </a:cubicBezTo>
                              <a:cubicBezTo>
                                <a:pt x="32" y="140"/>
                                <a:pt x="29" y="144"/>
                                <a:pt x="28" y="148"/>
                              </a:cubicBezTo>
                              <a:cubicBezTo>
                                <a:pt x="28" y="151"/>
                                <a:pt x="27" y="156"/>
                                <a:pt x="30" y="158"/>
                              </a:cubicBezTo>
                              <a:cubicBezTo>
                                <a:pt x="33" y="160"/>
                                <a:pt x="39" y="161"/>
                                <a:pt x="39" y="161"/>
                              </a:cubicBezTo>
                              <a:cubicBezTo>
                                <a:pt x="41" y="171"/>
                                <a:pt x="47" y="167"/>
                                <a:pt x="58" y="168"/>
                              </a:cubicBezTo>
                              <a:cubicBezTo>
                                <a:pt x="56" y="178"/>
                                <a:pt x="56" y="182"/>
                                <a:pt x="46" y="183"/>
                              </a:cubicBezTo>
                              <a:cubicBezTo>
                                <a:pt x="43" y="192"/>
                                <a:pt x="46" y="180"/>
                                <a:pt x="49" y="185"/>
                              </a:cubicBezTo>
                              <a:cubicBezTo>
                                <a:pt x="57" y="197"/>
                                <a:pt x="45" y="192"/>
                                <a:pt x="53" y="195"/>
                              </a:cubicBezTo>
                              <a:cubicBezTo>
                                <a:pt x="55" y="208"/>
                                <a:pt x="59" y="222"/>
                                <a:pt x="72" y="226"/>
                              </a:cubicBezTo>
                              <a:cubicBezTo>
                                <a:pt x="80" y="224"/>
                                <a:pt x="80" y="220"/>
                                <a:pt x="87" y="218"/>
                              </a:cubicBezTo>
                              <a:cubicBezTo>
                                <a:pt x="90" y="214"/>
                                <a:pt x="91" y="210"/>
                                <a:pt x="99" y="216"/>
                              </a:cubicBezTo>
                              <a:cubicBezTo>
                                <a:pt x="101" y="217"/>
                                <a:pt x="95" y="228"/>
                                <a:pt x="94" y="230"/>
                              </a:cubicBezTo>
                              <a:cubicBezTo>
                                <a:pt x="95" y="236"/>
                                <a:pt x="96" y="237"/>
                                <a:pt x="101" y="234"/>
                              </a:cubicBezTo>
                              <a:cubicBezTo>
                                <a:pt x="105" y="228"/>
                                <a:pt x="116" y="226"/>
                                <a:pt x="123" y="224"/>
                              </a:cubicBezTo>
                              <a:cubicBezTo>
                                <a:pt x="147" y="226"/>
                                <a:pt x="124" y="235"/>
                                <a:pt x="149" y="233"/>
                              </a:cubicBezTo>
                              <a:cubicBezTo>
                                <a:pt x="158" y="230"/>
                                <a:pt x="153" y="231"/>
                                <a:pt x="165" y="232"/>
                              </a:cubicBezTo>
                              <a:cubicBezTo>
                                <a:pt x="165" y="233"/>
                                <a:pt x="165" y="235"/>
                                <a:pt x="166" y="236"/>
                              </a:cubicBezTo>
                              <a:cubicBezTo>
                                <a:pt x="169" y="238"/>
                                <a:pt x="175" y="231"/>
                                <a:pt x="175" y="231"/>
                              </a:cubicBezTo>
                              <a:cubicBezTo>
                                <a:pt x="176" y="228"/>
                                <a:pt x="182" y="226"/>
                                <a:pt x="182" y="226"/>
                              </a:cubicBezTo>
                              <a:cubicBezTo>
                                <a:pt x="183" y="222"/>
                                <a:pt x="186" y="217"/>
                                <a:pt x="190" y="215"/>
                              </a:cubicBezTo>
                              <a:cubicBezTo>
                                <a:pt x="191" y="206"/>
                                <a:pt x="189" y="195"/>
                                <a:pt x="199" y="193"/>
                              </a:cubicBezTo>
                              <a:cubicBezTo>
                                <a:pt x="202" y="191"/>
                                <a:pt x="208" y="193"/>
                                <a:pt x="211" y="190"/>
                              </a:cubicBezTo>
                              <a:cubicBezTo>
                                <a:pt x="213" y="188"/>
                                <a:pt x="208" y="181"/>
                                <a:pt x="208" y="181"/>
                              </a:cubicBezTo>
                              <a:cubicBezTo>
                                <a:pt x="209" y="176"/>
                                <a:pt x="209" y="175"/>
                                <a:pt x="213" y="172"/>
                              </a:cubicBezTo>
                              <a:cubicBezTo>
                                <a:pt x="216" y="168"/>
                                <a:pt x="218" y="165"/>
                                <a:pt x="220" y="160"/>
                              </a:cubicBezTo>
                              <a:cubicBezTo>
                                <a:pt x="218" y="146"/>
                                <a:pt x="203" y="148"/>
                                <a:pt x="191" y="147"/>
                              </a:cubicBezTo>
                              <a:cubicBezTo>
                                <a:pt x="184" y="145"/>
                                <a:pt x="190" y="137"/>
                                <a:pt x="184" y="133"/>
                              </a:cubicBezTo>
                              <a:cubicBezTo>
                                <a:pt x="180" y="131"/>
                                <a:pt x="176" y="131"/>
                                <a:pt x="172" y="130"/>
                              </a:cubicBezTo>
                              <a:cubicBezTo>
                                <a:pt x="170" y="129"/>
                                <a:pt x="166" y="128"/>
                                <a:pt x="166" y="128"/>
                              </a:cubicBezTo>
                              <a:cubicBezTo>
                                <a:pt x="165" y="124"/>
                                <a:pt x="158" y="118"/>
                                <a:pt x="158" y="118"/>
                              </a:cubicBezTo>
                              <a:cubicBezTo>
                                <a:pt x="157" y="114"/>
                                <a:pt x="158" y="111"/>
                                <a:pt x="153" y="109"/>
                              </a:cubicBezTo>
                              <a:cubicBezTo>
                                <a:pt x="156" y="106"/>
                                <a:pt x="159" y="104"/>
                                <a:pt x="162" y="102"/>
                              </a:cubicBezTo>
                              <a:cubicBezTo>
                                <a:pt x="164" y="101"/>
                                <a:pt x="168" y="100"/>
                                <a:pt x="168" y="100"/>
                              </a:cubicBezTo>
                              <a:cubicBezTo>
                                <a:pt x="167" y="95"/>
                                <a:pt x="168" y="92"/>
                                <a:pt x="163" y="90"/>
                              </a:cubicBezTo>
                              <a:cubicBezTo>
                                <a:pt x="162" y="87"/>
                                <a:pt x="163" y="83"/>
                                <a:pt x="161" y="81"/>
                              </a:cubicBezTo>
                              <a:cubicBezTo>
                                <a:pt x="159" y="79"/>
                                <a:pt x="152" y="76"/>
                                <a:pt x="152" y="76"/>
                              </a:cubicBezTo>
                              <a:cubicBezTo>
                                <a:pt x="150" y="71"/>
                                <a:pt x="143" y="71"/>
                                <a:pt x="139" y="68"/>
                              </a:cubicBezTo>
                              <a:cubicBezTo>
                                <a:pt x="135" y="61"/>
                                <a:pt x="135" y="63"/>
                                <a:pt x="138" y="49"/>
                              </a:cubicBezTo>
                              <a:cubicBezTo>
                                <a:pt x="139" y="47"/>
                                <a:pt x="142" y="43"/>
                                <a:pt x="142" y="43"/>
                              </a:cubicBezTo>
                              <a:cubicBezTo>
                                <a:pt x="144" y="35"/>
                                <a:pt x="128" y="37"/>
                                <a:pt x="122" y="33"/>
                              </a:cubicBezTo>
                              <a:cubicBezTo>
                                <a:pt x="118" y="21"/>
                                <a:pt x="111" y="24"/>
                                <a:pt x="97" y="23"/>
                              </a:cubicBezTo>
                              <a:cubicBezTo>
                                <a:pt x="90" y="21"/>
                                <a:pt x="93" y="22"/>
                                <a:pt x="88" y="19"/>
                              </a:cubicBezTo>
                              <a:cubicBezTo>
                                <a:pt x="85" y="11"/>
                                <a:pt x="67" y="6"/>
                                <a:pt x="60" y="1"/>
                              </a:cubicBezTo>
                              <a:cubicBezTo>
                                <a:pt x="48" y="3"/>
                                <a:pt x="53" y="0"/>
                                <a:pt x="53" y="6"/>
                              </a:cubicBez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47" name="Freeform 35"/>
                        <p:cNvSpPr>
                          <a:spLocks noChangeArrowheads="1"/>
                        </p:cNvSpPr>
                        <p:nvPr/>
                      </p:nvSpPr>
                      <p:spPr bwMode="auto">
                        <a:xfrm>
                          <a:off x="2608283" y="1704853"/>
                          <a:ext cx="518147" cy="503490"/>
                        </a:xfrm>
                        <a:custGeom>
                          <a:avLst/>
                          <a:gdLst>
                            <a:gd name="T0" fmla="*/ 2147483647 w 279"/>
                            <a:gd name="T1" fmla="*/ 2147483647 h 236"/>
                            <a:gd name="T2" fmla="*/ 2147483647 w 279"/>
                            <a:gd name="T3" fmla="*/ 2147483647 h 236"/>
                            <a:gd name="T4" fmla="*/ 2147483647 w 279"/>
                            <a:gd name="T5" fmla="*/ 2147483647 h 236"/>
                            <a:gd name="T6" fmla="*/ 2147483647 w 279"/>
                            <a:gd name="T7" fmla="*/ 2147483647 h 236"/>
                            <a:gd name="T8" fmla="*/ 2147483647 w 279"/>
                            <a:gd name="T9" fmla="*/ 2147483647 h 236"/>
                            <a:gd name="T10" fmla="*/ 2147483647 w 279"/>
                            <a:gd name="T11" fmla="*/ 2147483647 h 236"/>
                            <a:gd name="T12" fmla="*/ 2147483647 w 279"/>
                            <a:gd name="T13" fmla="*/ 2147483647 h 236"/>
                            <a:gd name="T14" fmla="*/ 2147483647 w 279"/>
                            <a:gd name="T15" fmla="*/ 2147483647 h 236"/>
                            <a:gd name="T16" fmla="*/ 2147483647 w 279"/>
                            <a:gd name="T17" fmla="*/ 2147483647 h 236"/>
                            <a:gd name="T18" fmla="*/ 2147483647 w 279"/>
                            <a:gd name="T19" fmla="*/ 2147483647 h 236"/>
                            <a:gd name="T20" fmla="*/ 2147483647 w 279"/>
                            <a:gd name="T21" fmla="*/ 2147483647 h 236"/>
                            <a:gd name="T22" fmla="*/ 2147483647 w 279"/>
                            <a:gd name="T23" fmla="*/ 2147483647 h 236"/>
                            <a:gd name="T24" fmla="*/ 2147483647 w 279"/>
                            <a:gd name="T25" fmla="*/ 2147483647 h 236"/>
                            <a:gd name="T26" fmla="*/ 2147483647 w 279"/>
                            <a:gd name="T27" fmla="*/ 2147483647 h 236"/>
                            <a:gd name="T28" fmla="*/ 2147483647 w 279"/>
                            <a:gd name="T29" fmla="*/ 2147483647 h 236"/>
                            <a:gd name="T30" fmla="*/ 2147483647 w 279"/>
                            <a:gd name="T31" fmla="*/ 2147483647 h 236"/>
                            <a:gd name="T32" fmla="*/ 2147483647 w 279"/>
                            <a:gd name="T33" fmla="*/ 2147483647 h 236"/>
                            <a:gd name="T34" fmla="*/ 2147483647 w 279"/>
                            <a:gd name="T35" fmla="*/ 2147483647 h 236"/>
                            <a:gd name="T36" fmla="*/ 2147483647 w 279"/>
                            <a:gd name="T37" fmla="*/ 2147483647 h 236"/>
                            <a:gd name="T38" fmla="*/ 2147483647 w 279"/>
                            <a:gd name="T39" fmla="*/ 2147483647 h 236"/>
                            <a:gd name="T40" fmla="*/ 2147483647 w 279"/>
                            <a:gd name="T41" fmla="*/ 2147483647 h 236"/>
                            <a:gd name="T42" fmla="*/ 2147483647 w 279"/>
                            <a:gd name="T43" fmla="*/ 2147483647 h 236"/>
                            <a:gd name="T44" fmla="*/ 2147483647 w 279"/>
                            <a:gd name="T45" fmla="*/ 2147483647 h 236"/>
                            <a:gd name="T46" fmla="*/ 2147483647 w 279"/>
                            <a:gd name="T47" fmla="*/ 2147483647 h 236"/>
                            <a:gd name="T48" fmla="*/ 2147483647 w 279"/>
                            <a:gd name="T49" fmla="*/ 2147483647 h 236"/>
                            <a:gd name="T50" fmla="*/ 2147483647 w 279"/>
                            <a:gd name="T51" fmla="*/ 2147483647 h 236"/>
                            <a:gd name="T52" fmla="*/ 2147483647 w 279"/>
                            <a:gd name="T53" fmla="*/ 2147483647 h 236"/>
                            <a:gd name="T54" fmla="*/ 2147483647 w 279"/>
                            <a:gd name="T55" fmla="*/ 2147483647 h 236"/>
                            <a:gd name="T56" fmla="*/ 2147483647 w 279"/>
                            <a:gd name="T57" fmla="*/ 2147483647 h 236"/>
                            <a:gd name="T58" fmla="*/ 2147483647 w 279"/>
                            <a:gd name="T59" fmla="*/ 2147483647 h 236"/>
                            <a:gd name="T60" fmla="*/ 2147483647 w 279"/>
                            <a:gd name="T61" fmla="*/ 2147483647 h 236"/>
                            <a:gd name="T62" fmla="*/ 2147483647 w 279"/>
                            <a:gd name="T63" fmla="*/ 2147483647 h 236"/>
                            <a:gd name="T64" fmla="*/ 2147483647 w 279"/>
                            <a:gd name="T65" fmla="*/ 2147483647 h 2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36"/>
                            <a:gd name="T101" fmla="*/ 279 w 279"/>
                            <a:gd name="T102" fmla="*/ 236 h 2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36">
                              <a:moveTo>
                                <a:pt x="1" y="91"/>
                              </a:moveTo>
                              <a:cubicBezTo>
                                <a:pt x="11" y="94"/>
                                <a:pt x="2" y="111"/>
                                <a:pt x="12" y="114"/>
                              </a:cubicBezTo>
                              <a:cubicBezTo>
                                <a:pt x="13" y="118"/>
                                <a:pt x="18" y="123"/>
                                <a:pt x="21" y="124"/>
                              </a:cubicBezTo>
                              <a:cubicBezTo>
                                <a:pt x="25" y="130"/>
                                <a:pt x="24" y="131"/>
                                <a:pt x="31" y="133"/>
                              </a:cubicBezTo>
                              <a:cubicBezTo>
                                <a:pt x="32" y="149"/>
                                <a:pt x="29" y="155"/>
                                <a:pt x="41" y="161"/>
                              </a:cubicBezTo>
                              <a:cubicBezTo>
                                <a:pt x="43" y="168"/>
                                <a:pt x="43" y="168"/>
                                <a:pt x="51" y="170"/>
                              </a:cubicBezTo>
                              <a:cubicBezTo>
                                <a:pt x="52" y="176"/>
                                <a:pt x="51" y="180"/>
                                <a:pt x="58" y="182"/>
                              </a:cubicBezTo>
                              <a:cubicBezTo>
                                <a:pt x="59" y="188"/>
                                <a:pt x="60" y="183"/>
                                <a:pt x="68" y="184"/>
                              </a:cubicBezTo>
                              <a:cubicBezTo>
                                <a:pt x="70" y="191"/>
                                <a:pt x="78" y="189"/>
                                <a:pt x="85" y="190"/>
                              </a:cubicBezTo>
                              <a:cubicBezTo>
                                <a:pt x="87" y="197"/>
                                <a:pt x="121" y="191"/>
                                <a:pt x="121" y="191"/>
                              </a:cubicBezTo>
                              <a:cubicBezTo>
                                <a:pt x="129" y="190"/>
                                <a:pt x="135" y="190"/>
                                <a:pt x="141" y="186"/>
                              </a:cubicBezTo>
                              <a:cubicBezTo>
                                <a:pt x="145" y="186"/>
                                <a:pt x="150" y="185"/>
                                <a:pt x="154" y="187"/>
                              </a:cubicBezTo>
                              <a:cubicBezTo>
                                <a:pt x="160" y="190"/>
                                <a:pt x="153" y="201"/>
                                <a:pt x="156" y="208"/>
                              </a:cubicBezTo>
                              <a:cubicBezTo>
                                <a:pt x="157" y="210"/>
                                <a:pt x="162" y="210"/>
                                <a:pt x="162" y="210"/>
                              </a:cubicBezTo>
                              <a:cubicBezTo>
                                <a:pt x="164" y="216"/>
                                <a:pt x="167" y="211"/>
                                <a:pt x="169" y="218"/>
                              </a:cubicBezTo>
                              <a:cubicBezTo>
                                <a:pt x="172" y="213"/>
                                <a:pt x="174" y="214"/>
                                <a:pt x="180" y="215"/>
                              </a:cubicBezTo>
                              <a:cubicBezTo>
                                <a:pt x="184" y="218"/>
                                <a:pt x="191" y="215"/>
                                <a:pt x="195" y="218"/>
                              </a:cubicBezTo>
                              <a:cubicBezTo>
                                <a:pt x="197" y="220"/>
                                <a:pt x="194" y="225"/>
                                <a:pt x="196" y="227"/>
                              </a:cubicBezTo>
                              <a:cubicBezTo>
                                <a:pt x="198" y="230"/>
                                <a:pt x="202" y="228"/>
                                <a:pt x="205" y="229"/>
                              </a:cubicBezTo>
                              <a:cubicBezTo>
                                <a:pt x="207" y="236"/>
                                <a:pt x="211" y="233"/>
                                <a:pt x="217" y="231"/>
                              </a:cubicBezTo>
                              <a:cubicBezTo>
                                <a:pt x="218" y="225"/>
                                <a:pt x="219" y="224"/>
                                <a:pt x="225" y="226"/>
                              </a:cubicBezTo>
                              <a:cubicBezTo>
                                <a:pt x="222" y="235"/>
                                <a:pt x="221" y="232"/>
                                <a:pt x="233" y="231"/>
                              </a:cubicBezTo>
                              <a:cubicBezTo>
                                <a:pt x="229" y="219"/>
                                <a:pt x="240" y="214"/>
                                <a:pt x="250" y="212"/>
                              </a:cubicBezTo>
                              <a:cubicBezTo>
                                <a:pt x="251" y="208"/>
                                <a:pt x="255" y="207"/>
                                <a:pt x="257" y="202"/>
                              </a:cubicBezTo>
                              <a:cubicBezTo>
                                <a:pt x="256" y="195"/>
                                <a:pt x="259" y="187"/>
                                <a:pt x="252" y="185"/>
                              </a:cubicBezTo>
                              <a:cubicBezTo>
                                <a:pt x="250" y="176"/>
                                <a:pt x="249" y="182"/>
                                <a:pt x="244" y="184"/>
                              </a:cubicBezTo>
                              <a:cubicBezTo>
                                <a:pt x="233" y="183"/>
                                <a:pt x="227" y="177"/>
                                <a:pt x="215" y="176"/>
                              </a:cubicBezTo>
                              <a:cubicBezTo>
                                <a:pt x="214" y="168"/>
                                <a:pt x="217" y="157"/>
                                <a:pt x="208" y="163"/>
                              </a:cubicBezTo>
                              <a:cubicBezTo>
                                <a:pt x="206" y="160"/>
                                <a:pt x="204" y="154"/>
                                <a:pt x="204" y="154"/>
                              </a:cubicBezTo>
                              <a:cubicBezTo>
                                <a:pt x="209" y="152"/>
                                <a:pt x="213" y="152"/>
                                <a:pt x="217" y="149"/>
                              </a:cubicBezTo>
                              <a:cubicBezTo>
                                <a:pt x="218" y="146"/>
                                <a:pt x="220" y="143"/>
                                <a:pt x="221" y="140"/>
                              </a:cubicBezTo>
                              <a:cubicBezTo>
                                <a:pt x="222" y="134"/>
                                <a:pt x="221" y="131"/>
                                <a:pt x="226" y="128"/>
                              </a:cubicBezTo>
                              <a:cubicBezTo>
                                <a:pt x="226" y="127"/>
                                <a:pt x="227" y="126"/>
                                <a:pt x="227" y="125"/>
                              </a:cubicBezTo>
                              <a:cubicBezTo>
                                <a:pt x="228" y="120"/>
                                <a:pt x="227" y="115"/>
                                <a:pt x="228" y="110"/>
                              </a:cubicBezTo>
                              <a:cubicBezTo>
                                <a:pt x="229" y="107"/>
                                <a:pt x="237" y="105"/>
                                <a:pt x="237" y="105"/>
                              </a:cubicBezTo>
                              <a:cubicBezTo>
                                <a:pt x="246" y="107"/>
                                <a:pt x="245" y="110"/>
                                <a:pt x="252" y="115"/>
                              </a:cubicBezTo>
                              <a:cubicBezTo>
                                <a:pt x="264" y="114"/>
                                <a:pt x="262" y="115"/>
                                <a:pt x="270" y="111"/>
                              </a:cubicBezTo>
                              <a:cubicBezTo>
                                <a:pt x="273" y="110"/>
                                <a:pt x="279" y="108"/>
                                <a:pt x="279" y="108"/>
                              </a:cubicBezTo>
                              <a:cubicBezTo>
                                <a:pt x="275" y="96"/>
                                <a:pt x="278" y="94"/>
                                <a:pt x="263" y="93"/>
                              </a:cubicBezTo>
                              <a:cubicBezTo>
                                <a:pt x="256" y="88"/>
                                <a:pt x="257" y="89"/>
                                <a:pt x="255" y="81"/>
                              </a:cubicBezTo>
                              <a:cubicBezTo>
                                <a:pt x="250" y="81"/>
                                <a:pt x="246" y="81"/>
                                <a:pt x="241" y="82"/>
                              </a:cubicBezTo>
                              <a:cubicBezTo>
                                <a:pt x="240" y="82"/>
                                <a:pt x="239" y="84"/>
                                <a:pt x="238" y="84"/>
                              </a:cubicBezTo>
                              <a:cubicBezTo>
                                <a:pt x="234" y="85"/>
                                <a:pt x="225" y="80"/>
                                <a:pt x="225" y="80"/>
                              </a:cubicBezTo>
                              <a:cubicBezTo>
                                <a:pt x="222" y="71"/>
                                <a:pt x="220" y="73"/>
                                <a:pt x="211" y="70"/>
                              </a:cubicBezTo>
                              <a:cubicBezTo>
                                <a:pt x="209" y="63"/>
                                <a:pt x="201" y="66"/>
                                <a:pt x="194" y="65"/>
                              </a:cubicBezTo>
                              <a:cubicBezTo>
                                <a:pt x="195" y="59"/>
                                <a:pt x="196" y="49"/>
                                <a:pt x="203" y="47"/>
                              </a:cubicBezTo>
                              <a:cubicBezTo>
                                <a:pt x="205" y="44"/>
                                <a:pt x="211" y="42"/>
                                <a:pt x="211" y="42"/>
                              </a:cubicBezTo>
                              <a:cubicBezTo>
                                <a:pt x="213" y="35"/>
                                <a:pt x="211" y="37"/>
                                <a:pt x="216" y="35"/>
                              </a:cubicBezTo>
                              <a:cubicBezTo>
                                <a:pt x="218" y="29"/>
                                <a:pt x="220" y="28"/>
                                <a:pt x="213" y="26"/>
                              </a:cubicBezTo>
                              <a:cubicBezTo>
                                <a:pt x="211" y="19"/>
                                <a:pt x="218" y="14"/>
                                <a:pt x="220" y="8"/>
                              </a:cubicBezTo>
                              <a:cubicBezTo>
                                <a:pt x="215" y="5"/>
                                <a:pt x="217" y="8"/>
                                <a:pt x="213" y="11"/>
                              </a:cubicBezTo>
                              <a:cubicBezTo>
                                <a:pt x="210" y="9"/>
                                <a:pt x="204" y="5"/>
                                <a:pt x="204" y="5"/>
                              </a:cubicBezTo>
                              <a:cubicBezTo>
                                <a:pt x="200" y="6"/>
                                <a:pt x="191" y="9"/>
                                <a:pt x="191" y="9"/>
                              </a:cubicBezTo>
                              <a:cubicBezTo>
                                <a:pt x="175" y="8"/>
                                <a:pt x="173" y="4"/>
                                <a:pt x="156" y="3"/>
                              </a:cubicBezTo>
                              <a:cubicBezTo>
                                <a:pt x="153" y="2"/>
                                <a:pt x="146" y="0"/>
                                <a:pt x="146" y="0"/>
                              </a:cubicBezTo>
                              <a:cubicBezTo>
                                <a:pt x="139" y="11"/>
                                <a:pt x="144" y="18"/>
                                <a:pt x="142" y="35"/>
                              </a:cubicBezTo>
                              <a:cubicBezTo>
                                <a:pt x="142" y="39"/>
                                <a:pt x="132" y="40"/>
                                <a:pt x="129" y="42"/>
                              </a:cubicBezTo>
                              <a:cubicBezTo>
                                <a:pt x="119" y="58"/>
                                <a:pt x="88" y="55"/>
                                <a:pt x="74" y="55"/>
                              </a:cubicBezTo>
                              <a:cubicBezTo>
                                <a:pt x="73" y="59"/>
                                <a:pt x="75" y="64"/>
                                <a:pt x="72" y="67"/>
                              </a:cubicBezTo>
                              <a:cubicBezTo>
                                <a:pt x="71" y="68"/>
                                <a:pt x="66" y="65"/>
                                <a:pt x="66" y="65"/>
                              </a:cubicBezTo>
                              <a:cubicBezTo>
                                <a:pt x="64" y="66"/>
                                <a:pt x="61" y="66"/>
                                <a:pt x="60" y="68"/>
                              </a:cubicBezTo>
                              <a:cubicBezTo>
                                <a:pt x="58" y="70"/>
                                <a:pt x="60" y="75"/>
                                <a:pt x="58" y="75"/>
                              </a:cubicBezTo>
                              <a:cubicBezTo>
                                <a:pt x="49" y="77"/>
                                <a:pt x="40" y="76"/>
                                <a:pt x="31" y="76"/>
                              </a:cubicBezTo>
                              <a:cubicBezTo>
                                <a:pt x="30" y="80"/>
                                <a:pt x="26" y="79"/>
                                <a:pt x="28" y="84"/>
                              </a:cubicBezTo>
                              <a:cubicBezTo>
                                <a:pt x="22" y="88"/>
                                <a:pt x="8" y="88"/>
                                <a:pt x="0" y="89"/>
                              </a:cubicBezTo>
                              <a:cubicBezTo>
                                <a:pt x="1" y="93"/>
                                <a:pt x="9" y="95"/>
                                <a:pt x="1" y="91"/>
                              </a:cubicBez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48" name="Freeform 36"/>
                        <p:cNvSpPr>
                          <a:spLocks noChangeArrowheads="1"/>
                        </p:cNvSpPr>
                        <p:nvPr/>
                      </p:nvSpPr>
                      <p:spPr bwMode="auto">
                        <a:xfrm>
                          <a:off x="2551020" y="2793622"/>
                          <a:ext cx="685321" cy="538543"/>
                        </a:xfrm>
                        <a:custGeom>
                          <a:avLst/>
                          <a:gdLst>
                            <a:gd name="T0" fmla="*/ 2147483647 w 370"/>
                            <a:gd name="T1" fmla="*/ 2147483647 h 253"/>
                            <a:gd name="T2" fmla="*/ 2147483647 w 370"/>
                            <a:gd name="T3" fmla="*/ 2147483647 h 253"/>
                            <a:gd name="T4" fmla="*/ 2147483647 w 370"/>
                            <a:gd name="T5" fmla="*/ 2147483647 h 253"/>
                            <a:gd name="T6" fmla="*/ 2147483647 w 370"/>
                            <a:gd name="T7" fmla="*/ 2147483647 h 253"/>
                            <a:gd name="T8" fmla="*/ 2147483647 w 370"/>
                            <a:gd name="T9" fmla="*/ 2147483647 h 253"/>
                            <a:gd name="T10" fmla="*/ 2147483647 w 370"/>
                            <a:gd name="T11" fmla="*/ 2147483647 h 253"/>
                            <a:gd name="T12" fmla="*/ 2147483647 w 370"/>
                            <a:gd name="T13" fmla="*/ 2147483647 h 253"/>
                            <a:gd name="T14" fmla="*/ 2147483647 w 370"/>
                            <a:gd name="T15" fmla="*/ 2147483647 h 253"/>
                            <a:gd name="T16" fmla="*/ 2147483647 w 370"/>
                            <a:gd name="T17" fmla="*/ 2147483647 h 253"/>
                            <a:gd name="T18" fmla="*/ 2147483647 w 370"/>
                            <a:gd name="T19" fmla="*/ 2147483647 h 253"/>
                            <a:gd name="T20" fmla="*/ 2147483647 w 370"/>
                            <a:gd name="T21" fmla="*/ 2147483647 h 253"/>
                            <a:gd name="T22" fmla="*/ 2147483647 w 370"/>
                            <a:gd name="T23" fmla="*/ 2147483647 h 253"/>
                            <a:gd name="T24" fmla="*/ 2147483647 w 370"/>
                            <a:gd name="T25" fmla="*/ 2147483647 h 253"/>
                            <a:gd name="T26" fmla="*/ 2147483647 w 370"/>
                            <a:gd name="T27" fmla="*/ 2147483647 h 253"/>
                            <a:gd name="T28" fmla="*/ 2147483647 w 370"/>
                            <a:gd name="T29" fmla="*/ 2147483647 h 253"/>
                            <a:gd name="T30" fmla="*/ 2147483647 w 370"/>
                            <a:gd name="T31" fmla="*/ 2147483647 h 253"/>
                            <a:gd name="T32" fmla="*/ 2147483647 w 370"/>
                            <a:gd name="T33" fmla="*/ 2147483647 h 253"/>
                            <a:gd name="T34" fmla="*/ 2147483647 w 370"/>
                            <a:gd name="T35" fmla="*/ 2147483647 h 253"/>
                            <a:gd name="T36" fmla="*/ 2147483647 w 370"/>
                            <a:gd name="T37" fmla="*/ 2147483647 h 253"/>
                            <a:gd name="T38" fmla="*/ 2147483647 w 370"/>
                            <a:gd name="T39" fmla="*/ 2147483647 h 253"/>
                            <a:gd name="T40" fmla="*/ 2147483647 w 370"/>
                            <a:gd name="T41" fmla="*/ 2147483647 h 253"/>
                            <a:gd name="T42" fmla="*/ 2147483647 w 370"/>
                            <a:gd name="T43" fmla="*/ 2147483647 h 253"/>
                            <a:gd name="T44" fmla="*/ 2147483647 w 370"/>
                            <a:gd name="T45" fmla="*/ 2147483647 h 253"/>
                            <a:gd name="T46" fmla="*/ 2147483647 w 370"/>
                            <a:gd name="T47" fmla="*/ 2147483647 h 253"/>
                            <a:gd name="T48" fmla="*/ 2147483647 w 370"/>
                            <a:gd name="T49" fmla="*/ 2147483647 h 253"/>
                            <a:gd name="T50" fmla="*/ 2147483647 w 370"/>
                            <a:gd name="T51" fmla="*/ 2147483647 h 253"/>
                            <a:gd name="T52" fmla="*/ 2147483647 w 370"/>
                            <a:gd name="T53" fmla="*/ 2147483647 h 253"/>
                            <a:gd name="T54" fmla="*/ 2147483647 w 370"/>
                            <a:gd name="T55" fmla="*/ 2147483647 h 253"/>
                            <a:gd name="T56" fmla="*/ 2147483647 w 370"/>
                            <a:gd name="T57" fmla="*/ 2147483647 h 253"/>
                            <a:gd name="T58" fmla="*/ 2147483647 w 370"/>
                            <a:gd name="T59" fmla="*/ 2147483647 h 253"/>
                            <a:gd name="T60" fmla="*/ 2147483647 w 370"/>
                            <a:gd name="T61" fmla="*/ 2147483647 h 253"/>
                            <a:gd name="T62" fmla="*/ 2147483647 w 370"/>
                            <a:gd name="T63" fmla="*/ 2147483647 h 253"/>
                            <a:gd name="T64" fmla="*/ 2147483647 w 370"/>
                            <a:gd name="T65" fmla="*/ 2147483647 h 253"/>
                            <a:gd name="T66" fmla="*/ 2147483647 w 370"/>
                            <a:gd name="T67" fmla="*/ 2147483647 h 253"/>
                            <a:gd name="T68" fmla="*/ 2147483647 w 370"/>
                            <a:gd name="T69" fmla="*/ 2147483647 h 253"/>
                            <a:gd name="T70" fmla="*/ 2147483647 w 370"/>
                            <a:gd name="T71" fmla="*/ 2147483647 h 253"/>
                            <a:gd name="T72" fmla="*/ 2147483647 w 370"/>
                            <a:gd name="T73" fmla="*/ 2147483647 h 253"/>
                            <a:gd name="T74" fmla="*/ 2147483647 w 370"/>
                            <a:gd name="T75" fmla="*/ 2147483647 h 2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0"/>
                            <a:gd name="T115" fmla="*/ 0 h 253"/>
                            <a:gd name="T116" fmla="*/ 370 w 370"/>
                            <a:gd name="T117" fmla="*/ 253 h 2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0" h="253">
                              <a:moveTo>
                                <a:pt x="367" y="77"/>
                              </a:moveTo>
                              <a:cubicBezTo>
                                <a:pt x="366" y="65"/>
                                <a:pt x="365" y="71"/>
                                <a:pt x="362" y="63"/>
                              </a:cubicBezTo>
                              <a:cubicBezTo>
                                <a:pt x="361" y="56"/>
                                <a:pt x="358" y="42"/>
                                <a:pt x="350" y="39"/>
                              </a:cubicBezTo>
                              <a:cubicBezTo>
                                <a:pt x="348" y="33"/>
                                <a:pt x="344" y="34"/>
                                <a:pt x="339" y="36"/>
                              </a:cubicBezTo>
                              <a:cubicBezTo>
                                <a:pt x="335" y="35"/>
                                <a:pt x="333" y="31"/>
                                <a:pt x="331" y="30"/>
                              </a:cubicBezTo>
                              <a:cubicBezTo>
                                <a:pt x="327" y="28"/>
                                <a:pt x="322" y="29"/>
                                <a:pt x="317" y="28"/>
                              </a:cubicBezTo>
                              <a:cubicBezTo>
                                <a:pt x="312" y="24"/>
                                <a:pt x="311" y="25"/>
                                <a:pt x="304" y="26"/>
                              </a:cubicBezTo>
                              <a:cubicBezTo>
                                <a:pt x="299" y="34"/>
                                <a:pt x="306" y="46"/>
                                <a:pt x="295" y="39"/>
                              </a:cubicBezTo>
                              <a:cubicBezTo>
                                <a:pt x="294" y="35"/>
                                <a:pt x="292" y="34"/>
                                <a:pt x="288" y="33"/>
                              </a:cubicBezTo>
                              <a:cubicBezTo>
                                <a:pt x="280" y="33"/>
                                <a:pt x="271" y="33"/>
                                <a:pt x="263" y="34"/>
                              </a:cubicBezTo>
                              <a:cubicBezTo>
                                <a:pt x="261" y="34"/>
                                <a:pt x="257" y="38"/>
                                <a:pt x="257" y="38"/>
                              </a:cubicBezTo>
                              <a:cubicBezTo>
                                <a:pt x="253" y="43"/>
                                <a:pt x="250" y="42"/>
                                <a:pt x="243" y="43"/>
                              </a:cubicBezTo>
                              <a:cubicBezTo>
                                <a:pt x="238" y="45"/>
                                <a:pt x="227" y="39"/>
                                <a:pt x="227" y="39"/>
                              </a:cubicBezTo>
                              <a:cubicBezTo>
                                <a:pt x="229" y="32"/>
                                <a:pt x="230" y="33"/>
                                <a:pt x="235" y="29"/>
                              </a:cubicBezTo>
                              <a:cubicBezTo>
                                <a:pt x="243" y="17"/>
                                <a:pt x="235" y="22"/>
                                <a:pt x="247" y="14"/>
                              </a:cubicBezTo>
                              <a:cubicBezTo>
                                <a:pt x="249" y="11"/>
                                <a:pt x="250" y="7"/>
                                <a:pt x="246" y="5"/>
                              </a:cubicBezTo>
                              <a:cubicBezTo>
                                <a:pt x="244" y="4"/>
                                <a:pt x="240" y="3"/>
                                <a:pt x="240" y="3"/>
                              </a:cubicBezTo>
                              <a:cubicBezTo>
                                <a:pt x="228" y="6"/>
                                <a:pt x="237" y="6"/>
                                <a:pt x="216" y="5"/>
                              </a:cubicBezTo>
                              <a:cubicBezTo>
                                <a:pt x="214" y="0"/>
                                <a:pt x="213" y="0"/>
                                <a:pt x="209" y="3"/>
                              </a:cubicBezTo>
                              <a:cubicBezTo>
                                <a:pt x="201" y="15"/>
                                <a:pt x="207" y="9"/>
                                <a:pt x="184" y="8"/>
                              </a:cubicBezTo>
                              <a:cubicBezTo>
                                <a:pt x="180" y="7"/>
                                <a:pt x="181" y="4"/>
                                <a:pt x="177" y="3"/>
                              </a:cubicBezTo>
                              <a:cubicBezTo>
                                <a:pt x="168" y="4"/>
                                <a:pt x="169" y="10"/>
                                <a:pt x="159" y="12"/>
                              </a:cubicBezTo>
                              <a:cubicBezTo>
                                <a:pt x="159" y="13"/>
                                <a:pt x="159" y="14"/>
                                <a:pt x="160" y="15"/>
                              </a:cubicBezTo>
                              <a:cubicBezTo>
                                <a:pt x="171" y="21"/>
                                <a:pt x="167" y="2"/>
                                <a:pt x="165" y="32"/>
                              </a:cubicBezTo>
                              <a:cubicBezTo>
                                <a:pt x="162" y="31"/>
                                <a:pt x="156" y="29"/>
                                <a:pt x="156" y="29"/>
                              </a:cubicBezTo>
                              <a:cubicBezTo>
                                <a:pt x="150" y="21"/>
                                <a:pt x="148" y="20"/>
                                <a:pt x="138" y="19"/>
                              </a:cubicBezTo>
                              <a:cubicBezTo>
                                <a:pt x="119" y="13"/>
                                <a:pt x="126" y="23"/>
                                <a:pt x="123" y="37"/>
                              </a:cubicBezTo>
                              <a:cubicBezTo>
                                <a:pt x="123" y="38"/>
                                <a:pt x="115" y="41"/>
                                <a:pt x="114" y="42"/>
                              </a:cubicBezTo>
                              <a:cubicBezTo>
                                <a:pt x="115" y="51"/>
                                <a:pt x="129" y="58"/>
                                <a:pt x="112" y="62"/>
                              </a:cubicBezTo>
                              <a:cubicBezTo>
                                <a:pt x="109" y="71"/>
                                <a:pt x="116" y="81"/>
                                <a:pt x="105" y="83"/>
                              </a:cubicBezTo>
                              <a:cubicBezTo>
                                <a:pt x="100" y="90"/>
                                <a:pt x="96" y="92"/>
                                <a:pt x="86" y="93"/>
                              </a:cubicBezTo>
                              <a:cubicBezTo>
                                <a:pt x="87" y="104"/>
                                <a:pt x="95" y="125"/>
                                <a:pt x="80" y="130"/>
                              </a:cubicBezTo>
                              <a:cubicBezTo>
                                <a:pt x="78" y="135"/>
                                <a:pt x="75" y="134"/>
                                <a:pt x="71" y="135"/>
                              </a:cubicBezTo>
                              <a:cubicBezTo>
                                <a:pt x="69" y="140"/>
                                <a:pt x="51" y="143"/>
                                <a:pt x="60" y="137"/>
                              </a:cubicBezTo>
                              <a:cubicBezTo>
                                <a:pt x="64" y="143"/>
                                <a:pt x="59" y="143"/>
                                <a:pt x="55" y="146"/>
                              </a:cubicBezTo>
                              <a:cubicBezTo>
                                <a:pt x="52" y="156"/>
                                <a:pt x="64" y="154"/>
                                <a:pt x="43" y="156"/>
                              </a:cubicBezTo>
                              <a:cubicBezTo>
                                <a:pt x="40" y="160"/>
                                <a:pt x="38" y="162"/>
                                <a:pt x="35" y="166"/>
                              </a:cubicBezTo>
                              <a:cubicBezTo>
                                <a:pt x="37" y="175"/>
                                <a:pt x="36" y="175"/>
                                <a:pt x="26" y="174"/>
                              </a:cubicBezTo>
                              <a:cubicBezTo>
                                <a:pt x="16" y="171"/>
                                <a:pt x="16" y="177"/>
                                <a:pt x="14" y="185"/>
                              </a:cubicBezTo>
                              <a:cubicBezTo>
                                <a:pt x="13" y="188"/>
                                <a:pt x="7" y="186"/>
                                <a:pt x="4" y="186"/>
                              </a:cubicBezTo>
                              <a:cubicBezTo>
                                <a:pt x="6" y="191"/>
                                <a:pt x="8" y="188"/>
                                <a:pt x="10" y="193"/>
                              </a:cubicBezTo>
                              <a:cubicBezTo>
                                <a:pt x="8" y="199"/>
                                <a:pt x="10" y="207"/>
                                <a:pt x="3" y="209"/>
                              </a:cubicBezTo>
                              <a:cubicBezTo>
                                <a:pt x="0" y="217"/>
                                <a:pt x="0" y="219"/>
                                <a:pt x="8" y="221"/>
                              </a:cubicBezTo>
                              <a:cubicBezTo>
                                <a:pt x="10" y="226"/>
                                <a:pt x="4" y="239"/>
                                <a:pt x="8" y="248"/>
                              </a:cubicBezTo>
                              <a:cubicBezTo>
                                <a:pt x="10" y="253"/>
                                <a:pt x="18" y="249"/>
                                <a:pt x="23" y="250"/>
                              </a:cubicBezTo>
                              <a:cubicBezTo>
                                <a:pt x="31" y="253"/>
                                <a:pt x="31" y="253"/>
                                <a:pt x="46" y="250"/>
                              </a:cubicBezTo>
                              <a:cubicBezTo>
                                <a:pt x="48" y="250"/>
                                <a:pt x="52" y="246"/>
                                <a:pt x="52" y="246"/>
                              </a:cubicBezTo>
                              <a:cubicBezTo>
                                <a:pt x="50" y="237"/>
                                <a:pt x="49" y="243"/>
                                <a:pt x="46" y="236"/>
                              </a:cubicBezTo>
                              <a:cubicBezTo>
                                <a:pt x="45" y="234"/>
                                <a:pt x="46" y="231"/>
                                <a:pt x="44" y="229"/>
                              </a:cubicBezTo>
                              <a:cubicBezTo>
                                <a:pt x="42" y="228"/>
                                <a:pt x="38" y="227"/>
                                <a:pt x="38" y="227"/>
                              </a:cubicBezTo>
                              <a:cubicBezTo>
                                <a:pt x="37" y="218"/>
                                <a:pt x="37" y="218"/>
                                <a:pt x="29" y="215"/>
                              </a:cubicBezTo>
                              <a:cubicBezTo>
                                <a:pt x="24" y="208"/>
                                <a:pt x="40" y="209"/>
                                <a:pt x="44" y="209"/>
                              </a:cubicBezTo>
                              <a:cubicBezTo>
                                <a:pt x="52" y="204"/>
                                <a:pt x="53" y="201"/>
                                <a:pt x="63" y="200"/>
                              </a:cubicBezTo>
                              <a:cubicBezTo>
                                <a:pt x="78" y="195"/>
                                <a:pt x="78" y="190"/>
                                <a:pt x="97" y="189"/>
                              </a:cubicBezTo>
                              <a:cubicBezTo>
                                <a:pt x="110" y="185"/>
                                <a:pt x="101" y="187"/>
                                <a:pt x="124" y="186"/>
                              </a:cubicBezTo>
                              <a:cubicBezTo>
                                <a:pt x="125" y="185"/>
                                <a:pt x="126" y="185"/>
                                <a:pt x="127" y="184"/>
                              </a:cubicBezTo>
                              <a:cubicBezTo>
                                <a:pt x="134" y="172"/>
                                <a:pt x="118" y="179"/>
                                <a:pt x="146" y="177"/>
                              </a:cubicBezTo>
                              <a:cubicBezTo>
                                <a:pt x="154" y="176"/>
                                <a:pt x="154" y="173"/>
                                <a:pt x="160" y="171"/>
                              </a:cubicBezTo>
                              <a:cubicBezTo>
                                <a:pt x="163" y="166"/>
                                <a:pt x="161" y="159"/>
                                <a:pt x="164" y="155"/>
                              </a:cubicBezTo>
                              <a:cubicBezTo>
                                <a:pt x="168" y="150"/>
                                <a:pt x="182" y="149"/>
                                <a:pt x="189" y="147"/>
                              </a:cubicBezTo>
                              <a:cubicBezTo>
                                <a:pt x="190" y="145"/>
                                <a:pt x="193" y="144"/>
                                <a:pt x="193" y="142"/>
                              </a:cubicBezTo>
                              <a:cubicBezTo>
                                <a:pt x="194" y="137"/>
                                <a:pt x="190" y="128"/>
                                <a:pt x="190" y="128"/>
                              </a:cubicBezTo>
                              <a:cubicBezTo>
                                <a:pt x="191" y="112"/>
                                <a:pt x="191" y="116"/>
                                <a:pt x="199" y="121"/>
                              </a:cubicBezTo>
                              <a:cubicBezTo>
                                <a:pt x="200" y="124"/>
                                <a:pt x="199" y="128"/>
                                <a:pt x="201" y="129"/>
                              </a:cubicBezTo>
                              <a:cubicBezTo>
                                <a:pt x="204" y="131"/>
                                <a:pt x="211" y="131"/>
                                <a:pt x="211" y="131"/>
                              </a:cubicBezTo>
                              <a:cubicBezTo>
                                <a:pt x="215" y="138"/>
                                <a:pt x="223" y="131"/>
                                <a:pt x="227" y="138"/>
                              </a:cubicBezTo>
                              <a:cubicBezTo>
                                <a:pt x="226" y="138"/>
                                <a:pt x="223" y="139"/>
                                <a:pt x="224" y="139"/>
                              </a:cubicBezTo>
                              <a:cubicBezTo>
                                <a:pt x="228" y="139"/>
                                <a:pt x="233" y="139"/>
                                <a:pt x="237" y="138"/>
                              </a:cubicBezTo>
                              <a:cubicBezTo>
                                <a:pt x="239" y="138"/>
                                <a:pt x="243" y="130"/>
                                <a:pt x="247" y="129"/>
                              </a:cubicBezTo>
                              <a:cubicBezTo>
                                <a:pt x="257" y="126"/>
                                <a:pt x="257" y="125"/>
                                <a:pt x="270" y="124"/>
                              </a:cubicBezTo>
                              <a:cubicBezTo>
                                <a:pt x="278" y="119"/>
                                <a:pt x="309" y="119"/>
                                <a:pt x="323" y="118"/>
                              </a:cubicBezTo>
                              <a:cubicBezTo>
                                <a:pt x="330" y="116"/>
                                <a:pt x="330" y="115"/>
                                <a:pt x="339" y="114"/>
                              </a:cubicBezTo>
                              <a:cubicBezTo>
                                <a:pt x="350" y="110"/>
                                <a:pt x="341" y="108"/>
                                <a:pt x="348" y="101"/>
                              </a:cubicBezTo>
                              <a:cubicBezTo>
                                <a:pt x="351" y="98"/>
                                <a:pt x="356" y="96"/>
                                <a:pt x="360" y="95"/>
                              </a:cubicBezTo>
                              <a:cubicBezTo>
                                <a:pt x="361" y="93"/>
                                <a:pt x="361" y="90"/>
                                <a:pt x="363" y="89"/>
                              </a:cubicBezTo>
                              <a:cubicBezTo>
                                <a:pt x="365" y="88"/>
                                <a:pt x="369" y="87"/>
                                <a:pt x="369" y="87"/>
                              </a:cubicBezTo>
                              <a:cubicBezTo>
                                <a:pt x="370" y="83"/>
                                <a:pt x="368" y="81"/>
                                <a:pt x="367" y="77"/>
                              </a:cubicBez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49" name="Freeform 38"/>
                        <p:cNvSpPr>
                          <a:spLocks noChangeArrowheads="1"/>
                        </p:cNvSpPr>
                        <p:nvPr/>
                      </p:nvSpPr>
                      <p:spPr bwMode="auto">
                        <a:xfrm>
                          <a:off x="2082748" y="2721392"/>
                          <a:ext cx="696404" cy="489681"/>
                        </a:xfrm>
                        <a:custGeom>
                          <a:avLst/>
                          <a:gdLst>
                            <a:gd name="T0" fmla="*/ 2147483647 w 376"/>
                            <a:gd name="T1" fmla="*/ 2147483647 h 230"/>
                            <a:gd name="T2" fmla="*/ 2147483647 w 376"/>
                            <a:gd name="T3" fmla="*/ 2147483647 h 230"/>
                            <a:gd name="T4" fmla="*/ 2147483647 w 376"/>
                            <a:gd name="T5" fmla="*/ 2147483647 h 230"/>
                            <a:gd name="T6" fmla="*/ 2147483647 w 376"/>
                            <a:gd name="T7" fmla="*/ 2147483647 h 230"/>
                            <a:gd name="T8" fmla="*/ 2147483647 w 376"/>
                            <a:gd name="T9" fmla="*/ 2147483647 h 230"/>
                            <a:gd name="T10" fmla="*/ 2147483647 w 376"/>
                            <a:gd name="T11" fmla="*/ 2147483647 h 230"/>
                            <a:gd name="T12" fmla="*/ 2147483647 w 376"/>
                            <a:gd name="T13" fmla="*/ 2147483647 h 230"/>
                            <a:gd name="T14" fmla="*/ 2147483647 w 376"/>
                            <a:gd name="T15" fmla="*/ 2147483647 h 230"/>
                            <a:gd name="T16" fmla="*/ 2147483647 w 376"/>
                            <a:gd name="T17" fmla="*/ 2147483647 h 230"/>
                            <a:gd name="T18" fmla="*/ 2147483647 w 376"/>
                            <a:gd name="T19" fmla="*/ 2147483647 h 230"/>
                            <a:gd name="T20" fmla="*/ 2147483647 w 376"/>
                            <a:gd name="T21" fmla="*/ 2147483647 h 230"/>
                            <a:gd name="T22" fmla="*/ 2147483647 w 376"/>
                            <a:gd name="T23" fmla="*/ 2147483647 h 230"/>
                            <a:gd name="T24" fmla="*/ 2147483647 w 376"/>
                            <a:gd name="T25" fmla="*/ 2147483647 h 230"/>
                            <a:gd name="T26" fmla="*/ 2147483647 w 376"/>
                            <a:gd name="T27" fmla="*/ 2147483647 h 230"/>
                            <a:gd name="T28" fmla="*/ 2147483647 w 376"/>
                            <a:gd name="T29" fmla="*/ 2147483647 h 230"/>
                            <a:gd name="T30" fmla="*/ 2147483647 w 376"/>
                            <a:gd name="T31" fmla="*/ 2147483647 h 230"/>
                            <a:gd name="T32" fmla="*/ 2147483647 w 376"/>
                            <a:gd name="T33" fmla="*/ 2147483647 h 230"/>
                            <a:gd name="T34" fmla="*/ 2147483647 w 376"/>
                            <a:gd name="T35" fmla="*/ 2147483647 h 230"/>
                            <a:gd name="T36" fmla="*/ 2147483647 w 376"/>
                            <a:gd name="T37" fmla="*/ 2147483647 h 230"/>
                            <a:gd name="T38" fmla="*/ 2147483647 w 376"/>
                            <a:gd name="T39" fmla="*/ 2147483647 h 230"/>
                            <a:gd name="T40" fmla="*/ 2147483647 w 376"/>
                            <a:gd name="T41" fmla="*/ 2147483647 h 230"/>
                            <a:gd name="T42" fmla="*/ 2147483647 w 376"/>
                            <a:gd name="T43" fmla="*/ 2147483647 h 230"/>
                            <a:gd name="T44" fmla="*/ 2147483647 w 376"/>
                            <a:gd name="T45" fmla="*/ 2147483647 h 230"/>
                            <a:gd name="T46" fmla="*/ 2147483647 w 376"/>
                            <a:gd name="T47" fmla="*/ 2147483647 h 230"/>
                            <a:gd name="T48" fmla="*/ 2147483647 w 376"/>
                            <a:gd name="T49" fmla="*/ 2147483647 h 230"/>
                            <a:gd name="T50" fmla="*/ 2147483647 w 376"/>
                            <a:gd name="T51" fmla="*/ 2147483647 h 230"/>
                            <a:gd name="T52" fmla="*/ 2147483647 w 376"/>
                            <a:gd name="T53" fmla="*/ 2147483647 h 230"/>
                            <a:gd name="T54" fmla="*/ 2147483647 w 376"/>
                            <a:gd name="T55" fmla="*/ 2147483647 h 230"/>
                            <a:gd name="T56" fmla="*/ 2147483647 w 376"/>
                            <a:gd name="T57" fmla="*/ 2147483647 h 230"/>
                            <a:gd name="T58" fmla="*/ 2147483647 w 376"/>
                            <a:gd name="T59" fmla="*/ 2147483647 h 230"/>
                            <a:gd name="T60" fmla="*/ 2147483647 w 376"/>
                            <a:gd name="T61" fmla="*/ 2147483647 h 230"/>
                            <a:gd name="T62" fmla="*/ 2147483647 w 376"/>
                            <a:gd name="T63" fmla="*/ 2147483647 h 230"/>
                            <a:gd name="T64" fmla="*/ 2147483647 w 376"/>
                            <a:gd name="T65" fmla="*/ 2147483647 h 230"/>
                            <a:gd name="T66" fmla="*/ 2147483647 w 376"/>
                            <a:gd name="T67" fmla="*/ 2147483647 h 230"/>
                            <a:gd name="T68" fmla="*/ 2147483647 w 376"/>
                            <a:gd name="T69" fmla="*/ 2147483647 h 230"/>
                            <a:gd name="T70" fmla="*/ 2147483647 w 376"/>
                            <a:gd name="T71" fmla="*/ 2147483647 h 230"/>
                            <a:gd name="T72" fmla="*/ 2147483647 w 376"/>
                            <a:gd name="T73" fmla="*/ 2147483647 h 230"/>
                            <a:gd name="T74" fmla="*/ 2147483647 w 376"/>
                            <a:gd name="T75" fmla="*/ 2147483647 h 230"/>
                            <a:gd name="T76" fmla="*/ 2147483647 w 376"/>
                            <a:gd name="T77" fmla="*/ 2147483647 h 230"/>
                            <a:gd name="T78" fmla="*/ 2147483647 w 376"/>
                            <a:gd name="T79" fmla="*/ 2147483647 h 230"/>
                            <a:gd name="T80" fmla="*/ 2147483647 w 376"/>
                            <a:gd name="T81" fmla="*/ 2147483647 h 2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76"/>
                            <a:gd name="T124" fmla="*/ 0 h 230"/>
                            <a:gd name="T125" fmla="*/ 376 w 376"/>
                            <a:gd name="T126" fmla="*/ 230 h 2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76" h="230">
                              <a:moveTo>
                                <a:pt x="376" y="72"/>
                              </a:moveTo>
                              <a:cubicBezTo>
                                <a:pt x="361" y="73"/>
                                <a:pt x="360" y="74"/>
                                <a:pt x="348" y="77"/>
                              </a:cubicBezTo>
                              <a:cubicBezTo>
                                <a:pt x="329" y="73"/>
                                <a:pt x="359" y="56"/>
                                <a:pt x="333" y="59"/>
                              </a:cubicBezTo>
                              <a:cubicBezTo>
                                <a:pt x="329" y="61"/>
                                <a:pt x="322" y="66"/>
                                <a:pt x="322" y="66"/>
                              </a:cubicBezTo>
                              <a:cubicBezTo>
                                <a:pt x="317" y="63"/>
                                <a:pt x="317" y="64"/>
                                <a:pt x="320" y="54"/>
                              </a:cubicBezTo>
                              <a:cubicBezTo>
                                <a:pt x="321" y="50"/>
                                <a:pt x="331" y="51"/>
                                <a:pt x="331" y="51"/>
                              </a:cubicBezTo>
                              <a:cubicBezTo>
                                <a:pt x="334" y="47"/>
                                <a:pt x="336" y="41"/>
                                <a:pt x="338" y="36"/>
                              </a:cubicBezTo>
                              <a:cubicBezTo>
                                <a:pt x="339" y="26"/>
                                <a:pt x="337" y="26"/>
                                <a:pt x="345" y="23"/>
                              </a:cubicBezTo>
                              <a:cubicBezTo>
                                <a:pt x="344" y="14"/>
                                <a:pt x="342" y="17"/>
                                <a:pt x="335" y="19"/>
                              </a:cubicBezTo>
                              <a:cubicBezTo>
                                <a:pt x="330" y="17"/>
                                <a:pt x="333" y="13"/>
                                <a:pt x="334" y="9"/>
                              </a:cubicBezTo>
                              <a:cubicBezTo>
                                <a:pt x="333" y="1"/>
                                <a:pt x="329" y="2"/>
                                <a:pt x="321" y="0"/>
                              </a:cubicBezTo>
                              <a:cubicBezTo>
                                <a:pt x="317" y="1"/>
                                <a:pt x="315" y="3"/>
                                <a:pt x="311" y="4"/>
                              </a:cubicBezTo>
                              <a:cubicBezTo>
                                <a:pt x="306" y="2"/>
                                <a:pt x="304" y="2"/>
                                <a:pt x="298" y="3"/>
                              </a:cubicBezTo>
                              <a:cubicBezTo>
                                <a:pt x="295" y="7"/>
                                <a:pt x="296" y="11"/>
                                <a:pt x="291" y="13"/>
                              </a:cubicBezTo>
                              <a:cubicBezTo>
                                <a:pt x="286" y="13"/>
                                <a:pt x="282" y="13"/>
                                <a:pt x="277" y="12"/>
                              </a:cubicBezTo>
                              <a:cubicBezTo>
                                <a:pt x="275" y="11"/>
                                <a:pt x="271" y="8"/>
                                <a:pt x="271" y="8"/>
                              </a:cubicBezTo>
                              <a:cubicBezTo>
                                <a:pt x="270" y="12"/>
                                <a:pt x="268" y="13"/>
                                <a:pt x="264" y="14"/>
                              </a:cubicBezTo>
                              <a:cubicBezTo>
                                <a:pt x="258" y="23"/>
                                <a:pt x="267" y="11"/>
                                <a:pt x="245" y="18"/>
                              </a:cubicBezTo>
                              <a:cubicBezTo>
                                <a:pt x="245" y="18"/>
                                <a:pt x="244" y="25"/>
                                <a:pt x="243" y="26"/>
                              </a:cubicBezTo>
                              <a:cubicBezTo>
                                <a:pt x="238" y="31"/>
                                <a:pt x="229" y="28"/>
                                <a:pt x="222" y="28"/>
                              </a:cubicBezTo>
                              <a:cubicBezTo>
                                <a:pt x="219" y="32"/>
                                <a:pt x="220" y="33"/>
                                <a:pt x="224" y="36"/>
                              </a:cubicBezTo>
                              <a:cubicBezTo>
                                <a:pt x="223" y="40"/>
                                <a:pt x="210" y="35"/>
                                <a:pt x="210" y="35"/>
                              </a:cubicBezTo>
                              <a:cubicBezTo>
                                <a:pt x="207" y="39"/>
                                <a:pt x="209" y="43"/>
                                <a:pt x="204" y="45"/>
                              </a:cubicBezTo>
                              <a:cubicBezTo>
                                <a:pt x="197" y="44"/>
                                <a:pt x="197" y="42"/>
                                <a:pt x="191" y="38"/>
                              </a:cubicBezTo>
                              <a:cubicBezTo>
                                <a:pt x="181" y="40"/>
                                <a:pt x="184" y="50"/>
                                <a:pt x="181" y="51"/>
                              </a:cubicBezTo>
                              <a:cubicBezTo>
                                <a:pt x="174" y="53"/>
                                <a:pt x="179" y="52"/>
                                <a:pt x="165" y="53"/>
                              </a:cubicBezTo>
                              <a:cubicBezTo>
                                <a:pt x="161" y="54"/>
                                <a:pt x="160" y="53"/>
                                <a:pt x="156" y="51"/>
                              </a:cubicBezTo>
                              <a:cubicBezTo>
                                <a:pt x="153" y="43"/>
                                <a:pt x="158" y="55"/>
                                <a:pt x="147" y="47"/>
                              </a:cubicBezTo>
                              <a:cubicBezTo>
                                <a:pt x="145" y="46"/>
                                <a:pt x="144" y="36"/>
                                <a:pt x="143" y="34"/>
                              </a:cubicBezTo>
                              <a:cubicBezTo>
                                <a:pt x="134" y="35"/>
                                <a:pt x="138" y="34"/>
                                <a:pt x="130" y="37"/>
                              </a:cubicBezTo>
                              <a:cubicBezTo>
                                <a:pt x="129" y="37"/>
                                <a:pt x="127" y="38"/>
                                <a:pt x="127" y="38"/>
                              </a:cubicBezTo>
                              <a:cubicBezTo>
                                <a:pt x="125" y="45"/>
                                <a:pt x="128" y="37"/>
                                <a:pt x="121" y="42"/>
                              </a:cubicBezTo>
                              <a:cubicBezTo>
                                <a:pt x="118" y="44"/>
                                <a:pt x="121" y="48"/>
                                <a:pt x="119" y="51"/>
                              </a:cubicBezTo>
                              <a:cubicBezTo>
                                <a:pt x="118" y="53"/>
                                <a:pt x="115" y="53"/>
                                <a:pt x="113" y="54"/>
                              </a:cubicBezTo>
                              <a:cubicBezTo>
                                <a:pt x="108" y="53"/>
                                <a:pt x="99" y="56"/>
                                <a:pt x="99" y="56"/>
                              </a:cubicBezTo>
                              <a:cubicBezTo>
                                <a:pt x="97" y="64"/>
                                <a:pt x="91" y="61"/>
                                <a:pt x="82" y="62"/>
                              </a:cubicBezTo>
                              <a:cubicBezTo>
                                <a:pt x="80" y="67"/>
                                <a:pt x="81" y="69"/>
                                <a:pt x="85" y="72"/>
                              </a:cubicBezTo>
                              <a:cubicBezTo>
                                <a:pt x="83" y="83"/>
                                <a:pt x="78" y="76"/>
                                <a:pt x="71" y="74"/>
                              </a:cubicBezTo>
                              <a:cubicBezTo>
                                <a:pt x="69" y="68"/>
                                <a:pt x="49" y="60"/>
                                <a:pt x="42" y="59"/>
                              </a:cubicBezTo>
                              <a:cubicBezTo>
                                <a:pt x="40" y="56"/>
                                <a:pt x="34" y="54"/>
                                <a:pt x="34" y="54"/>
                              </a:cubicBezTo>
                              <a:cubicBezTo>
                                <a:pt x="24" y="57"/>
                                <a:pt x="28" y="63"/>
                                <a:pt x="24" y="70"/>
                              </a:cubicBezTo>
                              <a:cubicBezTo>
                                <a:pt x="21" y="76"/>
                                <a:pt x="10" y="72"/>
                                <a:pt x="3" y="72"/>
                              </a:cubicBezTo>
                              <a:cubicBezTo>
                                <a:pt x="0" y="82"/>
                                <a:pt x="1" y="84"/>
                                <a:pt x="11" y="85"/>
                              </a:cubicBezTo>
                              <a:cubicBezTo>
                                <a:pt x="13" y="90"/>
                                <a:pt x="14" y="90"/>
                                <a:pt x="18" y="87"/>
                              </a:cubicBezTo>
                              <a:cubicBezTo>
                                <a:pt x="53" y="89"/>
                                <a:pt x="18" y="99"/>
                                <a:pt x="52" y="102"/>
                              </a:cubicBezTo>
                              <a:cubicBezTo>
                                <a:pt x="54" y="112"/>
                                <a:pt x="53" y="106"/>
                                <a:pt x="58" y="103"/>
                              </a:cubicBezTo>
                              <a:cubicBezTo>
                                <a:pt x="65" y="105"/>
                                <a:pt x="65" y="105"/>
                                <a:pt x="73" y="104"/>
                              </a:cubicBezTo>
                              <a:cubicBezTo>
                                <a:pt x="78" y="102"/>
                                <a:pt x="79" y="103"/>
                                <a:pt x="80" y="108"/>
                              </a:cubicBezTo>
                              <a:cubicBezTo>
                                <a:pt x="78" y="142"/>
                                <a:pt x="84" y="124"/>
                                <a:pt x="60" y="132"/>
                              </a:cubicBezTo>
                              <a:cubicBezTo>
                                <a:pt x="59" y="141"/>
                                <a:pt x="59" y="140"/>
                                <a:pt x="50" y="141"/>
                              </a:cubicBezTo>
                              <a:cubicBezTo>
                                <a:pt x="50" y="143"/>
                                <a:pt x="50" y="145"/>
                                <a:pt x="51" y="147"/>
                              </a:cubicBezTo>
                              <a:cubicBezTo>
                                <a:pt x="53" y="149"/>
                                <a:pt x="60" y="150"/>
                                <a:pt x="60" y="150"/>
                              </a:cubicBezTo>
                              <a:cubicBezTo>
                                <a:pt x="63" y="154"/>
                                <a:pt x="64" y="155"/>
                                <a:pt x="69" y="156"/>
                              </a:cubicBezTo>
                              <a:cubicBezTo>
                                <a:pt x="73" y="150"/>
                                <a:pt x="78" y="153"/>
                                <a:pt x="84" y="155"/>
                              </a:cubicBezTo>
                              <a:cubicBezTo>
                                <a:pt x="85" y="158"/>
                                <a:pt x="91" y="160"/>
                                <a:pt x="91" y="160"/>
                              </a:cubicBezTo>
                              <a:cubicBezTo>
                                <a:pt x="94" y="159"/>
                                <a:pt x="96" y="157"/>
                                <a:pt x="99" y="158"/>
                              </a:cubicBezTo>
                              <a:cubicBezTo>
                                <a:pt x="102" y="159"/>
                                <a:pt x="108" y="161"/>
                                <a:pt x="108" y="161"/>
                              </a:cubicBezTo>
                              <a:cubicBezTo>
                                <a:pt x="108" y="166"/>
                                <a:pt x="109" y="171"/>
                                <a:pt x="107" y="176"/>
                              </a:cubicBezTo>
                              <a:cubicBezTo>
                                <a:pt x="106" y="178"/>
                                <a:pt x="102" y="175"/>
                                <a:pt x="101" y="177"/>
                              </a:cubicBezTo>
                              <a:cubicBezTo>
                                <a:pt x="96" y="188"/>
                                <a:pt x="102" y="187"/>
                                <a:pt x="107" y="188"/>
                              </a:cubicBezTo>
                              <a:cubicBezTo>
                                <a:pt x="106" y="195"/>
                                <a:pt x="105" y="196"/>
                                <a:pt x="106" y="204"/>
                              </a:cubicBezTo>
                              <a:cubicBezTo>
                                <a:pt x="115" y="201"/>
                                <a:pt x="110" y="202"/>
                                <a:pt x="120" y="203"/>
                              </a:cubicBezTo>
                              <a:cubicBezTo>
                                <a:pt x="121" y="213"/>
                                <a:pt x="125" y="209"/>
                                <a:pt x="132" y="214"/>
                              </a:cubicBezTo>
                              <a:cubicBezTo>
                                <a:pt x="141" y="213"/>
                                <a:pt x="152" y="217"/>
                                <a:pt x="164" y="218"/>
                              </a:cubicBezTo>
                              <a:cubicBezTo>
                                <a:pt x="169" y="221"/>
                                <a:pt x="175" y="224"/>
                                <a:pt x="180" y="225"/>
                              </a:cubicBezTo>
                              <a:cubicBezTo>
                                <a:pt x="188" y="224"/>
                                <a:pt x="190" y="220"/>
                                <a:pt x="199" y="219"/>
                              </a:cubicBezTo>
                              <a:cubicBezTo>
                                <a:pt x="201" y="203"/>
                                <a:pt x="208" y="212"/>
                                <a:pt x="221" y="213"/>
                              </a:cubicBezTo>
                              <a:cubicBezTo>
                                <a:pt x="222" y="217"/>
                                <a:pt x="227" y="219"/>
                                <a:pt x="231" y="220"/>
                              </a:cubicBezTo>
                              <a:cubicBezTo>
                                <a:pt x="233" y="230"/>
                                <a:pt x="237" y="227"/>
                                <a:pt x="248" y="226"/>
                              </a:cubicBezTo>
                              <a:cubicBezTo>
                                <a:pt x="253" y="223"/>
                                <a:pt x="266" y="221"/>
                                <a:pt x="266" y="221"/>
                              </a:cubicBezTo>
                              <a:cubicBezTo>
                                <a:pt x="267" y="215"/>
                                <a:pt x="269" y="213"/>
                                <a:pt x="275" y="211"/>
                              </a:cubicBezTo>
                              <a:cubicBezTo>
                                <a:pt x="277" y="205"/>
                                <a:pt x="284" y="207"/>
                                <a:pt x="290" y="206"/>
                              </a:cubicBezTo>
                              <a:cubicBezTo>
                                <a:pt x="287" y="202"/>
                                <a:pt x="288" y="201"/>
                                <a:pt x="292" y="198"/>
                              </a:cubicBezTo>
                              <a:cubicBezTo>
                                <a:pt x="295" y="190"/>
                                <a:pt x="302" y="190"/>
                                <a:pt x="309" y="189"/>
                              </a:cubicBezTo>
                              <a:cubicBezTo>
                                <a:pt x="306" y="178"/>
                                <a:pt x="313" y="177"/>
                                <a:pt x="322" y="174"/>
                              </a:cubicBezTo>
                              <a:cubicBezTo>
                                <a:pt x="325" y="173"/>
                                <a:pt x="331" y="169"/>
                                <a:pt x="331" y="169"/>
                              </a:cubicBezTo>
                              <a:cubicBezTo>
                                <a:pt x="334" y="165"/>
                                <a:pt x="337" y="163"/>
                                <a:pt x="339" y="158"/>
                              </a:cubicBezTo>
                              <a:cubicBezTo>
                                <a:pt x="340" y="156"/>
                                <a:pt x="341" y="152"/>
                                <a:pt x="341" y="152"/>
                              </a:cubicBezTo>
                              <a:cubicBezTo>
                                <a:pt x="340" y="132"/>
                                <a:pt x="333" y="128"/>
                                <a:pt x="352" y="126"/>
                              </a:cubicBezTo>
                              <a:cubicBezTo>
                                <a:pt x="356" y="123"/>
                                <a:pt x="356" y="119"/>
                                <a:pt x="361" y="117"/>
                              </a:cubicBezTo>
                              <a:cubicBezTo>
                                <a:pt x="370" y="103"/>
                                <a:pt x="354" y="99"/>
                                <a:pt x="373" y="93"/>
                              </a:cubicBezTo>
                              <a:cubicBezTo>
                                <a:pt x="372" y="89"/>
                                <a:pt x="368" y="83"/>
                                <a:pt x="368" y="83"/>
                              </a:cubicBezTo>
                              <a:cubicBezTo>
                                <a:pt x="369" y="73"/>
                                <a:pt x="368" y="74"/>
                                <a:pt x="376" y="72"/>
                              </a:cubicBez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50" name="Freeform 39"/>
                        <p:cNvSpPr>
                          <a:spLocks/>
                        </p:cNvSpPr>
                        <p:nvPr/>
                      </p:nvSpPr>
                      <p:spPr bwMode="auto">
                        <a:xfrm>
                          <a:off x="2899221" y="2323062"/>
                          <a:ext cx="431327" cy="561911"/>
                        </a:xfrm>
                        <a:custGeom>
                          <a:avLst/>
                          <a:gdLst>
                            <a:gd name="T0" fmla="*/ 2147483647 w 233"/>
                            <a:gd name="T1" fmla="*/ 2147483647 h 264"/>
                            <a:gd name="T2" fmla="*/ 2147483647 w 233"/>
                            <a:gd name="T3" fmla="*/ 2147483647 h 264"/>
                            <a:gd name="T4" fmla="*/ 2147483647 w 233"/>
                            <a:gd name="T5" fmla="*/ 2147483647 h 264"/>
                            <a:gd name="T6" fmla="*/ 2147483647 w 233"/>
                            <a:gd name="T7" fmla="*/ 2147483647 h 264"/>
                            <a:gd name="T8" fmla="*/ 2147483647 w 233"/>
                            <a:gd name="T9" fmla="*/ 2147483647 h 264"/>
                            <a:gd name="T10" fmla="*/ 2147483647 w 233"/>
                            <a:gd name="T11" fmla="*/ 2147483647 h 264"/>
                            <a:gd name="T12" fmla="*/ 2147483647 w 233"/>
                            <a:gd name="T13" fmla="*/ 2147483647 h 264"/>
                            <a:gd name="T14" fmla="*/ 2147483647 w 233"/>
                            <a:gd name="T15" fmla="*/ 2147483647 h 264"/>
                            <a:gd name="T16" fmla="*/ 2147483647 w 233"/>
                            <a:gd name="T17" fmla="*/ 2147483647 h 264"/>
                            <a:gd name="T18" fmla="*/ 2147483647 w 233"/>
                            <a:gd name="T19" fmla="*/ 2147483647 h 264"/>
                            <a:gd name="T20" fmla="*/ 2147483647 w 233"/>
                            <a:gd name="T21" fmla="*/ 2147483647 h 264"/>
                            <a:gd name="T22" fmla="*/ 2147483647 w 233"/>
                            <a:gd name="T23" fmla="*/ 2147483647 h 264"/>
                            <a:gd name="T24" fmla="*/ 2147483647 w 233"/>
                            <a:gd name="T25" fmla="*/ 2147483647 h 264"/>
                            <a:gd name="T26" fmla="*/ 0 w 233"/>
                            <a:gd name="T27" fmla="*/ 2147483647 h 264"/>
                            <a:gd name="T28" fmla="*/ 2147483647 w 233"/>
                            <a:gd name="T29" fmla="*/ 2147483647 h 264"/>
                            <a:gd name="T30" fmla="*/ 2147483647 w 233"/>
                            <a:gd name="T31" fmla="*/ 2147483647 h 264"/>
                            <a:gd name="T32" fmla="*/ 2147483647 w 233"/>
                            <a:gd name="T33" fmla="*/ 2147483647 h 264"/>
                            <a:gd name="T34" fmla="*/ 2147483647 w 233"/>
                            <a:gd name="T35" fmla="*/ 2147483647 h 264"/>
                            <a:gd name="T36" fmla="*/ 2147483647 w 233"/>
                            <a:gd name="T37" fmla="*/ 2147483647 h 264"/>
                            <a:gd name="T38" fmla="*/ 2147483647 w 233"/>
                            <a:gd name="T39" fmla="*/ 2147483647 h 264"/>
                            <a:gd name="T40" fmla="*/ 2147483647 w 233"/>
                            <a:gd name="T41" fmla="*/ 2147483647 h 264"/>
                            <a:gd name="T42" fmla="*/ 2147483647 w 233"/>
                            <a:gd name="T43" fmla="*/ 2147483647 h 264"/>
                            <a:gd name="T44" fmla="*/ 2147483647 w 233"/>
                            <a:gd name="T45" fmla="*/ 2147483647 h 264"/>
                            <a:gd name="T46" fmla="*/ 2147483647 w 233"/>
                            <a:gd name="T47" fmla="*/ 2147483647 h 264"/>
                            <a:gd name="T48" fmla="*/ 2147483647 w 233"/>
                            <a:gd name="T49" fmla="*/ 2147483647 h 264"/>
                            <a:gd name="T50" fmla="*/ 2147483647 w 233"/>
                            <a:gd name="T51" fmla="*/ 2147483647 h 264"/>
                            <a:gd name="T52" fmla="*/ 2147483647 w 233"/>
                            <a:gd name="T53" fmla="*/ 2147483647 h 264"/>
                            <a:gd name="T54" fmla="*/ 2147483647 w 233"/>
                            <a:gd name="T55" fmla="*/ 2147483647 h 264"/>
                            <a:gd name="T56" fmla="*/ 2147483647 w 233"/>
                            <a:gd name="T57" fmla="*/ 2147483647 h 264"/>
                            <a:gd name="T58" fmla="*/ 2147483647 w 233"/>
                            <a:gd name="T59" fmla="*/ 2147483647 h 264"/>
                            <a:gd name="T60" fmla="*/ 2147483647 w 233"/>
                            <a:gd name="T61" fmla="*/ 2147483647 h 264"/>
                            <a:gd name="T62" fmla="*/ 2147483647 w 233"/>
                            <a:gd name="T63" fmla="*/ 2147483647 h 264"/>
                            <a:gd name="T64" fmla="*/ 2147483647 w 233"/>
                            <a:gd name="T65" fmla="*/ 2147483647 h 264"/>
                            <a:gd name="T66" fmla="*/ 2147483647 w 233"/>
                            <a:gd name="T67" fmla="*/ 2147483647 h 264"/>
                            <a:gd name="T68" fmla="*/ 2147483647 w 233"/>
                            <a:gd name="T69" fmla="*/ 2147483647 h 264"/>
                            <a:gd name="T70" fmla="*/ 2147483647 w 233"/>
                            <a:gd name="T71" fmla="*/ 2147483647 h 264"/>
                            <a:gd name="T72" fmla="*/ 2147483647 w 233"/>
                            <a:gd name="T73" fmla="*/ 2147483647 h 264"/>
                            <a:gd name="T74" fmla="*/ 2147483647 w 233"/>
                            <a:gd name="T75" fmla="*/ 2147483647 h 264"/>
                            <a:gd name="T76" fmla="*/ 2147483647 w 233"/>
                            <a:gd name="T77" fmla="*/ 2147483647 h 264"/>
                            <a:gd name="T78" fmla="*/ 2147483647 w 233"/>
                            <a:gd name="T79" fmla="*/ 2147483647 h 264"/>
                            <a:gd name="T80" fmla="*/ 2147483647 w 233"/>
                            <a:gd name="T81" fmla="*/ 2147483647 h 264"/>
                            <a:gd name="T82" fmla="*/ 2147483647 w 233"/>
                            <a:gd name="T83" fmla="*/ 2147483647 h 264"/>
                            <a:gd name="T84" fmla="*/ 2147483647 w 233"/>
                            <a:gd name="T85" fmla="*/ 2147483647 h 264"/>
                            <a:gd name="T86" fmla="*/ 2147483647 w 233"/>
                            <a:gd name="T87" fmla="*/ 2147483647 h 264"/>
                            <a:gd name="T88" fmla="*/ 2147483647 w 233"/>
                            <a:gd name="T89" fmla="*/ 2147483647 h 264"/>
                            <a:gd name="T90" fmla="*/ 2147483647 w 233"/>
                            <a:gd name="T91" fmla="*/ 2147483647 h 264"/>
                            <a:gd name="T92" fmla="*/ 2147483647 w 233"/>
                            <a:gd name="T93" fmla="*/ 2147483647 h 264"/>
                            <a:gd name="T94" fmla="*/ 2147483647 w 233"/>
                            <a:gd name="T95" fmla="*/ 2147483647 h 264"/>
                            <a:gd name="T96" fmla="*/ 2147483647 w 233"/>
                            <a:gd name="T97" fmla="*/ 2147483647 h 264"/>
                            <a:gd name="T98" fmla="*/ 2147483647 w 233"/>
                            <a:gd name="T99" fmla="*/ 2147483647 h 264"/>
                            <a:gd name="T100" fmla="*/ 2147483647 w 233"/>
                            <a:gd name="T101" fmla="*/ 2147483647 h 264"/>
                            <a:gd name="T102" fmla="*/ 2147483647 w 233"/>
                            <a:gd name="T103" fmla="*/ 2147483647 h 264"/>
                            <a:gd name="T104" fmla="*/ 2147483647 w 233"/>
                            <a:gd name="T105" fmla="*/ 2147483647 h 264"/>
                            <a:gd name="T106" fmla="*/ 2147483647 w 233"/>
                            <a:gd name="T107" fmla="*/ 2147483647 h 264"/>
                            <a:gd name="T108" fmla="*/ 2147483647 w 233"/>
                            <a:gd name="T109" fmla="*/ 2147483647 h 264"/>
                            <a:gd name="T110" fmla="*/ 2147483647 w 233"/>
                            <a:gd name="T111" fmla="*/ 2147483647 h 264"/>
                            <a:gd name="T112" fmla="*/ 2147483647 w 233"/>
                            <a:gd name="T113" fmla="*/ 2147483647 h 264"/>
                            <a:gd name="T114" fmla="*/ 2147483647 w 233"/>
                            <a:gd name="T115" fmla="*/ 2147483647 h 264"/>
                            <a:gd name="T116" fmla="*/ 2147483647 w 233"/>
                            <a:gd name="T117" fmla="*/ 2147483647 h 264"/>
                            <a:gd name="T118" fmla="*/ 2147483647 w 233"/>
                            <a:gd name="T119" fmla="*/ 2147483647 h 264"/>
                            <a:gd name="T120" fmla="*/ 2147483647 w 233"/>
                            <a:gd name="T121" fmla="*/ 2147483647 h 264"/>
                            <a:gd name="T122" fmla="*/ 2147483647 w 233"/>
                            <a:gd name="T123" fmla="*/ 2147483647 h 264"/>
                            <a:gd name="T124" fmla="*/ 2147483647 w 233"/>
                            <a:gd name="T125" fmla="*/ 2147483647 h 26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33"/>
                            <a:gd name="T190" fmla="*/ 0 h 264"/>
                            <a:gd name="T191" fmla="*/ 233 w 233"/>
                            <a:gd name="T192" fmla="*/ 264 h 26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33" h="264">
                              <a:moveTo>
                                <a:pt x="109" y="11"/>
                              </a:moveTo>
                              <a:cubicBezTo>
                                <a:pt x="106" y="16"/>
                                <a:pt x="109" y="21"/>
                                <a:pt x="103" y="23"/>
                              </a:cubicBezTo>
                              <a:cubicBezTo>
                                <a:pt x="96" y="22"/>
                                <a:pt x="93" y="23"/>
                                <a:pt x="88" y="19"/>
                              </a:cubicBezTo>
                              <a:cubicBezTo>
                                <a:pt x="77" y="22"/>
                                <a:pt x="82" y="24"/>
                                <a:pt x="65" y="25"/>
                              </a:cubicBezTo>
                              <a:cubicBezTo>
                                <a:pt x="62" y="38"/>
                                <a:pt x="67" y="23"/>
                                <a:pt x="58" y="31"/>
                              </a:cubicBezTo>
                              <a:cubicBezTo>
                                <a:pt x="55" y="34"/>
                                <a:pt x="58" y="38"/>
                                <a:pt x="53" y="39"/>
                              </a:cubicBezTo>
                              <a:cubicBezTo>
                                <a:pt x="46" y="40"/>
                                <a:pt x="38" y="40"/>
                                <a:pt x="31" y="40"/>
                              </a:cubicBezTo>
                              <a:cubicBezTo>
                                <a:pt x="27" y="41"/>
                                <a:pt x="25" y="43"/>
                                <a:pt x="23" y="46"/>
                              </a:cubicBezTo>
                              <a:cubicBezTo>
                                <a:pt x="22" y="55"/>
                                <a:pt x="23" y="55"/>
                                <a:pt x="15" y="57"/>
                              </a:cubicBezTo>
                              <a:cubicBezTo>
                                <a:pt x="13" y="64"/>
                                <a:pt x="14" y="67"/>
                                <a:pt x="21" y="63"/>
                              </a:cubicBezTo>
                              <a:cubicBezTo>
                                <a:pt x="26" y="70"/>
                                <a:pt x="23" y="79"/>
                                <a:pt x="25" y="87"/>
                              </a:cubicBezTo>
                              <a:cubicBezTo>
                                <a:pt x="21" y="99"/>
                                <a:pt x="23" y="102"/>
                                <a:pt x="10" y="105"/>
                              </a:cubicBezTo>
                              <a:cubicBezTo>
                                <a:pt x="5" y="112"/>
                                <a:pt x="8" y="110"/>
                                <a:pt x="3" y="113"/>
                              </a:cubicBezTo>
                              <a:cubicBezTo>
                                <a:pt x="2" y="119"/>
                                <a:pt x="0" y="130"/>
                                <a:pt x="0" y="130"/>
                              </a:cubicBezTo>
                              <a:cubicBezTo>
                                <a:pt x="3" y="149"/>
                                <a:pt x="17" y="127"/>
                                <a:pt x="11" y="146"/>
                              </a:cubicBezTo>
                              <a:cubicBezTo>
                                <a:pt x="12" y="151"/>
                                <a:pt x="14" y="153"/>
                                <a:pt x="15" y="158"/>
                              </a:cubicBezTo>
                              <a:cubicBezTo>
                                <a:pt x="16" y="173"/>
                                <a:pt x="15" y="171"/>
                                <a:pt x="29" y="172"/>
                              </a:cubicBezTo>
                              <a:cubicBezTo>
                                <a:pt x="28" y="191"/>
                                <a:pt x="23" y="199"/>
                                <a:pt x="18" y="215"/>
                              </a:cubicBezTo>
                              <a:cubicBezTo>
                                <a:pt x="25" y="217"/>
                                <a:pt x="18" y="220"/>
                                <a:pt x="23" y="225"/>
                              </a:cubicBezTo>
                              <a:cubicBezTo>
                                <a:pt x="25" y="227"/>
                                <a:pt x="29" y="226"/>
                                <a:pt x="32" y="227"/>
                              </a:cubicBezTo>
                              <a:cubicBezTo>
                                <a:pt x="40" y="227"/>
                                <a:pt x="48" y="224"/>
                                <a:pt x="56" y="226"/>
                              </a:cubicBezTo>
                              <a:cubicBezTo>
                                <a:pt x="57" y="233"/>
                                <a:pt x="64" y="235"/>
                                <a:pt x="56" y="238"/>
                              </a:cubicBezTo>
                              <a:cubicBezTo>
                                <a:pt x="55" y="242"/>
                                <a:pt x="52" y="241"/>
                                <a:pt x="50" y="245"/>
                              </a:cubicBezTo>
                              <a:cubicBezTo>
                                <a:pt x="49" y="252"/>
                                <a:pt x="45" y="251"/>
                                <a:pt x="40" y="254"/>
                              </a:cubicBezTo>
                              <a:cubicBezTo>
                                <a:pt x="41" y="262"/>
                                <a:pt x="43" y="261"/>
                                <a:pt x="50" y="262"/>
                              </a:cubicBezTo>
                              <a:cubicBezTo>
                                <a:pt x="69" y="261"/>
                                <a:pt x="62" y="259"/>
                                <a:pt x="77" y="257"/>
                              </a:cubicBezTo>
                              <a:cubicBezTo>
                                <a:pt x="86" y="254"/>
                                <a:pt x="94" y="255"/>
                                <a:pt x="103" y="256"/>
                              </a:cubicBezTo>
                              <a:cubicBezTo>
                                <a:pt x="111" y="259"/>
                                <a:pt x="102" y="264"/>
                                <a:pt x="112" y="262"/>
                              </a:cubicBezTo>
                              <a:cubicBezTo>
                                <a:pt x="113" y="255"/>
                                <a:pt x="117" y="246"/>
                                <a:pt x="124" y="245"/>
                              </a:cubicBezTo>
                              <a:cubicBezTo>
                                <a:pt x="122" y="241"/>
                                <a:pt x="117" y="234"/>
                                <a:pt x="117" y="234"/>
                              </a:cubicBezTo>
                              <a:cubicBezTo>
                                <a:pt x="118" y="227"/>
                                <a:pt x="120" y="231"/>
                                <a:pt x="122" y="225"/>
                              </a:cubicBezTo>
                              <a:cubicBezTo>
                                <a:pt x="122" y="223"/>
                                <a:pt x="123" y="220"/>
                                <a:pt x="123" y="218"/>
                              </a:cubicBezTo>
                              <a:cubicBezTo>
                                <a:pt x="123" y="214"/>
                                <a:pt x="123" y="210"/>
                                <a:pt x="124" y="206"/>
                              </a:cubicBezTo>
                              <a:cubicBezTo>
                                <a:pt x="124" y="203"/>
                                <a:pt x="131" y="199"/>
                                <a:pt x="131" y="199"/>
                              </a:cubicBezTo>
                              <a:cubicBezTo>
                                <a:pt x="132" y="195"/>
                                <a:pt x="141" y="193"/>
                                <a:pt x="141" y="193"/>
                              </a:cubicBezTo>
                              <a:cubicBezTo>
                                <a:pt x="142" y="186"/>
                                <a:pt x="140" y="184"/>
                                <a:pt x="138" y="178"/>
                              </a:cubicBezTo>
                              <a:cubicBezTo>
                                <a:pt x="141" y="176"/>
                                <a:pt x="147" y="172"/>
                                <a:pt x="147" y="172"/>
                              </a:cubicBezTo>
                              <a:cubicBezTo>
                                <a:pt x="146" y="165"/>
                                <a:pt x="142" y="154"/>
                                <a:pt x="149" y="149"/>
                              </a:cubicBezTo>
                              <a:cubicBezTo>
                                <a:pt x="152" y="145"/>
                                <a:pt x="155" y="145"/>
                                <a:pt x="160" y="143"/>
                              </a:cubicBezTo>
                              <a:cubicBezTo>
                                <a:pt x="162" y="142"/>
                                <a:pt x="166" y="141"/>
                                <a:pt x="166" y="141"/>
                              </a:cubicBezTo>
                              <a:cubicBezTo>
                                <a:pt x="166" y="137"/>
                                <a:pt x="167" y="127"/>
                                <a:pt x="165" y="122"/>
                              </a:cubicBezTo>
                              <a:cubicBezTo>
                                <a:pt x="163" y="128"/>
                                <a:pt x="170" y="121"/>
                                <a:pt x="163" y="119"/>
                              </a:cubicBezTo>
                              <a:cubicBezTo>
                                <a:pt x="163" y="118"/>
                                <a:pt x="166" y="110"/>
                                <a:pt x="167" y="110"/>
                              </a:cubicBezTo>
                              <a:cubicBezTo>
                                <a:pt x="170" y="109"/>
                                <a:pt x="177" y="108"/>
                                <a:pt x="177" y="108"/>
                              </a:cubicBezTo>
                              <a:cubicBezTo>
                                <a:pt x="180" y="100"/>
                                <a:pt x="180" y="100"/>
                                <a:pt x="189" y="99"/>
                              </a:cubicBezTo>
                              <a:cubicBezTo>
                                <a:pt x="194" y="97"/>
                                <a:pt x="199" y="99"/>
                                <a:pt x="204" y="98"/>
                              </a:cubicBezTo>
                              <a:cubicBezTo>
                                <a:pt x="206" y="92"/>
                                <a:pt x="210" y="93"/>
                                <a:pt x="216" y="92"/>
                              </a:cubicBezTo>
                              <a:cubicBezTo>
                                <a:pt x="218" y="87"/>
                                <a:pt x="220" y="88"/>
                                <a:pt x="225" y="87"/>
                              </a:cubicBezTo>
                              <a:cubicBezTo>
                                <a:pt x="229" y="85"/>
                                <a:pt x="231" y="85"/>
                                <a:pt x="232" y="81"/>
                              </a:cubicBezTo>
                              <a:cubicBezTo>
                                <a:pt x="225" y="77"/>
                                <a:pt x="233" y="69"/>
                                <a:pt x="225" y="66"/>
                              </a:cubicBezTo>
                              <a:cubicBezTo>
                                <a:pt x="222" y="62"/>
                                <a:pt x="219" y="63"/>
                                <a:pt x="221" y="58"/>
                              </a:cubicBezTo>
                              <a:cubicBezTo>
                                <a:pt x="215" y="54"/>
                                <a:pt x="215" y="49"/>
                                <a:pt x="207" y="47"/>
                              </a:cubicBezTo>
                              <a:cubicBezTo>
                                <a:pt x="201" y="43"/>
                                <a:pt x="210" y="33"/>
                                <a:pt x="211" y="26"/>
                              </a:cubicBezTo>
                              <a:cubicBezTo>
                                <a:pt x="208" y="17"/>
                                <a:pt x="188" y="21"/>
                                <a:pt x="184" y="21"/>
                              </a:cubicBezTo>
                              <a:cubicBezTo>
                                <a:pt x="182" y="16"/>
                                <a:pt x="171" y="13"/>
                                <a:pt x="171" y="13"/>
                              </a:cubicBezTo>
                              <a:cubicBezTo>
                                <a:pt x="166" y="14"/>
                                <a:pt x="162" y="14"/>
                                <a:pt x="157" y="16"/>
                              </a:cubicBezTo>
                              <a:cubicBezTo>
                                <a:pt x="154" y="21"/>
                                <a:pt x="150" y="21"/>
                                <a:pt x="146" y="24"/>
                              </a:cubicBezTo>
                              <a:cubicBezTo>
                                <a:pt x="140" y="23"/>
                                <a:pt x="136" y="16"/>
                                <a:pt x="144" y="13"/>
                              </a:cubicBezTo>
                              <a:cubicBezTo>
                                <a:pt x="144" y="10"/>
                                <a:pt x="145" y="6"/>
                                <a:pt x="143" y="4"/>
                              </a:cubicBezTo>
                              <a:cubicBezTo>
                                <a:pt x="139" y="0"/>
                                <a:pt x="128" y="10"/>
                                <a:pt x="128" y="10"/>
                              </a:cubicBezTo>
                              <a:cubicBezTo>
                                <a:pt x="125" y="14"/>
                                <a:pt x="123" y="14"/>
                                <a:pt x="119" y="15"/>
                              </a:cubicBezTo>
                              <a:cubicBezTo>
                                <a:pt x="112" y="13"/>
                                <a:pt x="114" y="15"/>
                                <a:pt x="111" y="10"/>
                              </a:cubicBezTo>
                              <a:cubicBezTo>
                                <a:pt x="104" y="12"/>
                                <a:pt x="107" y="10"/>
                                <a:pt x="107" y="21"/>
                              </a:cubicBezTo>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51" name="Freeform 40"/>
                        <p:cNvSpPr>
                          <a:spLocks noChangeArrowheads="1"/>
                        </p:cNvSpPr>
                        <p:nvPr/>
                      </p:nvSpPr>
                      <p:spPr bwMode="auto">
                        <a:xfrm>
                          <a:off x="2438339" y="2018207"/>
                          <a:ext cx="666849" cy="423824"/>
                        </a:xfrm>
                        <a:custGeom>
                          <a:avLst/>
                          <a:gdLst>
                            <a:gd name="T0" fmla="*/ 2147483647 w 360"/>
                            <a:gd name="T1" fmla="*/ 2147483647 h 199"/>
                            <a:gd name="T2" fmla="*/ 2147483647 w 360"/>
                            <a:gd name="T3" fmla="*/ 2147483647 h 199"/>
                            <a:gd name="T4" fmla="*/ 2147483647 w 360"/>
                            <a:gd name="T5" fmla="*/ 2147483647 h 199"/>
                            <a:gd name="T6" fmla="*/ 2147483647 w 360"/>
                            <a:gd name="T7" fmla="*/ 2147483647 h 199"/>
                            <a:gd name="T8" fmla="*/ 2147483647 w 360"/>
                            <a:gd name="T9" fmla="*/ 2147483647 h 199"/>
                            <a:gd name="T10" fmla="*/ 2147483647 w 360"/>
                            <a:gd name="T11" fmla="*/ 2147483647 h 199"/>
                            <a:gd name="T12" fmla="*/ 2147483647 w 360"/>
                            <a:gd name="T13" fmla="*/ 2147483647 h 199"/>
                            <a:gd name="T14" fmla="*/ 2147483647 w 360"/>
                            <a:gd name="T15" fmla="*/ 2147483647 h 199"/>
                            <a:gd name="T16" fmla="*/ 2147483647 w 360"/>
                            <a:gd name="T17" fmla="*/ 2147483647 h 199"/>
                            <a:gd name="T18" fmla="*/ 2147483647 w 360"/>
                            <a:gd name="T19" fmla="*/ 2147483647 h 199"/>
                            <a:gd name="T20" fmla="*/ 2147483647 w 360"/>
                            <a:gd name="T21" fmla="*/ 2147483647 h 199"/>
                            <a:gd name="T22" fmla="*/ 2147483647 w 360"/>
                            <a:gd name="T23" fmla="*/ 2147483647 h 199"/>
                            <a:gd name="T24" fmla="*/ 2147483647 w 360"/>
                            <a:gd name="T25" fmla="*/ 2147483647 h 199"/>
                            <a:gd name="T26" fmla="*/ 2147483647 w 360"/>
                            <a:gd name="T27" fmla="*/ 2147483647 h 199"/>
                            <a:gd name="T28" fmla="*/ 2147483647 w 360"/>
                            <a:gd name="T29" fmla="*/ 2147483647 h 199"/>
                            <a:gd name="T30" fmla="*/ 2147483647 w 360"/>
                            <a:gd name="T31" fmla="*/ 2147483647 h 199"/>
                            <a:gd name="T32" fmla="*/ 2147483647 w 360"/>
                            <a:gd name="T33" fmla="*/ 2147483647 h 199"/>
                            <a:gd name="T34" fmla="*/ 2147483647 w 360"/>
                            <a:gd name="T35" fmla="*/ 2147483647 h 199"/>
                            <a:gd name="T36" fmla="*/ 2147483647 w 360"/>
                            <a:gd name="T37" fmla="*/ 2147483647 h 199"/>
                            <a:gd name="T38" fmla="*/ 2147483647 w 360"/>
                            <a:gd name="T39" fmla="*/ 2147483647 h 199"/>
                            <a:gd name="T40" fmla="*/ 2147483647 w 360"/>
                            <a:gd name="T41" fmla="*/ 2147483647 h 199"/>
                            <a:gd name="T42" fmla="*/ 2147483647 w 360"/>
                            <a:gd name="T43" fmla="*/ 2147483647 h 199"/>
                            <a:gd name="T44" fmla="*/ 2147483647 w 360"/>
                            <a:gd name="T45" fmla="*/ 2147483647 h 199"/>
                            <a:gd name="T46" fmla="*/ 2147483647 w 360"/>
                            <a:gd name="T47" fmla="*/ 2147483647 h 199"/>
                            <a:gd name="T48" fmla="*/ 2147483647 w 360"/>
                            <a:gd name="T49" fmla="*/ 2147483647 h 199"/>
                            <a:gd name="T50" fmla="*/ 2147483647 w 360"/>
                            <a:gd name="T51" fmla="*/ 2147483647 h 199"/>
                            <a:gd name="T52" fmla="*/ 2147483647 w 360"/>
                            <a:gd name="T53" fmla="*/ 2147483647 h 199"/>
                            <a:gd name="T54" fmla="*/ 2147483647 w 360"/>
                            <a:gd name="T55" fmla="*/ 2147483647 h 199"/>
                            <a:gd name="T56" fmla="*/ 2147483647 w 360"/>
                            <a:gd name="T57" fmla="*/ 2147483647 h 199"/>
                            <a:gd name="T58" fmla="*/ 2147483647 w 360"/>
                            <a:gd name="T59" fmla="*/ 2147483647 h 199"/>
                            <a:gd name="T60" fmla="*/ 2147483647 w 360"/>
                            <a:gd name="T61" fmla="*/ 2147483647 h 199"/>
                            <a:gd name="T62" fmla="*/ 2147483647 w 360"/>
                            <a:gd name="T63" fmla="*/ 2147483647 h 199"/>
                            <a:gd name="T64" fmla="*/ 2147483647 w 360"/>
                            <a:gd name="T65" fmla="*/ 2147483647 h 199"/>
                            <a:gd name="T66" fmla="*/ 2147483647 w 360"/>
                            <a:gd name="T67" fmla="*/ 2147483647 h 199"/>
                            <a:gd name="T68" fmla="*/ 2147483647 w 360"/>
                            <a:gd name="T69" fmla="*/ 2147483647 h 199"/>
                            <a:gd name="T70" fmla="*/ 2147483647 w 360"/>
                            <a:gd name="T71" fmla="*/ 2147483647 h 19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60"/>
                            <a:gd name="T109" fmla="*/ 0 h 199"/>
                            <a:gd name="T110" fmla="*/ 360 w 360"/>
                            <a:gd name="T111" fmla="*/ 199 h 19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60" h="199">
                              <a:moveTo>
                                <a:pt x="271" y="190"/>
                              </a:moveTo>
                              <a:cubicBezTo>
                                <a:pt x="270" y="190"/>
                                <a:pt x="269" y="190"/>
                                <a:pt x="268" y="191"/>
                              </a:cubicBezTo>
                              <a:cubicBezTo>
                                <a:pt x="267" y="192"/>
                                <a:pt x="268" y="193"/>
                                <a:pt x="267" y="194"/>
                              </a:cubicBezTo>
                              <a:cubicBezTo>
                                <a:pt x="265" y="195"/>
                                <a:pt x="261" y="196"/>
                                <a:pt x="261" y="196"/>
                              </a:cubicBezTo>
                              <a:cubicBezTo>
                                <a:pt x="239" y="194"/>
                                <a:pt x="258" y="185"/>
                                <a:pt x="247" y="168"/>
                              </a:cubicBezTo>
                              <a:cubicBezTo>
                                <a:pt x="236" y="172"/>
                                <a:pt x="252" y="177"/>
                                <a:pt x="234" y="179"/>
                              </a:cubicBezTo>
                              <a:cubicBezTo>
                                <a:pt x="229" y="181"/>
                                <a:pt x="231" y="185"/>
                                <a:pt x="226" y="187"/>
                              </a:cubicBezTo>
                              <a:cubicBezTo>
                                <a:pt x="220" y="185"/>
                                <a:pt x="219" y="179"/>
                                <a:pt x="213" y="177"/>
                              </a:cubicBezTo>
                              <a:cubicBezTo>
                                <a:pt x="214" y="173"/>
                                <a:pt x="216" y="172"/>
                                <a:pt x="220" y="171"/>
                              </a:cubicBezTo>
                              <a:cubicBezTo>
                                <a:pt x="222" y="164"/>
                                <a:pt x="215" y="167"/>
                                <a:pt x="210" y="168"/>
                              </a:cubicBezTo>
                              <a:cubicBezTo>
                                <a:pt x="208" y="172"/>
                                <a:pt x="208" y="174"/>
                                <a:pt x="204" y="175"/>
                              </a:cubicBezTo>
                              <a:cubicBezTo>
                                <a:pt x="194" y="174"/>
                                <a:pt x="186" y="175"/>
                                <a:pt x="176" y="174"/>
                              </a:cubicBezTo>
                              <a:cubicBezTo>
                                <a:pt x="172" y="162"/>
                                <a:pt x="157" y="163"/>
                                <a:pt x="147" y="162"/>
                              </a:cubicBezTo>
                              <a:cubicBezTo>
                                <a:pt x="136" y="158"/>
                                <a:pt x="134" y="155"/>
                                <a:pt x="121" y="154"/>
                              </a:cubicBezTo>
                              <a:cubicBezTo>
                                <a:pt x="112" y="151"/>
                                <a:pt x="117" y="152"/>
                                <a:pt x="105" y="153"/>
                              </a:cubicBezTo>
                              <a:cubicBezTo>
                                <a:pt x="101" y="159"/>
                                <a:pt x="98" y="166"/>
                                <a:pt x="107" y="168"/>
                              </a:cubicBezTo>
                              <a:cubicBezTo>
                                <a:pt x="104" y="181"/>
                                <a:pt x="92" y="169"/>
                                <a:pt x="85" y="167"/>
                              </a:cubicBezTo>
                              <a:cubicBezTo>
                                <a:pt x="69" y="168"/>
                                <a:pt x="71" y="172"/>
                                <a:pt x="58" y="174"/>
                              </a:cubicBezTo>
                              <a:cubicBezTo>
                                <a:pt x="57" y="177"/>
                                <a:pt x="51" y="180"/>
                                <a:pt x="51" y="180"/>
                              </a:cubicBezTo>
                              <a:cubicBezTo>
                                <a:pt x="50" y="188"/>
                                <a:pt x="48" y="196"/>
                                <a:pt x="40" y="199"/>
                              </a:cubicBezTo>
                              <a:cubicBezTo>
                                <a:pt x="39" y="190"/>
                                <a:pt x="37" y="190"/>
                                <a:pt x="29" y="188"/>
                              </a:cubicBezTo>
                              <a:cubicBezTo>
                                <a:pt x="27" y="185"/>
                                <a:pt x="27" y="177"/>
                                <a:pt x="25" y="175"/>
                              </a:cubicBezTo>
                              <a:cubicBezTo>
                                <a:pt x="24" y="173"/>
                                <a:pt x="19" y="173"/>
                                <a:pt x="19" y="173"/>
                              </a:cubicBezTo>
                              <a:cubicBezTo>
                                <a:pt x="16" y="168"/>
                                <a:pt x="18" y="165"/>
                                <a:pt x="12" y="167"/>
                              </a:cubicBezTo>
                              <a:cubicBezTo>
                                <a:pt x="10" y="172"/>
                                <a:pt x="8" y="169"/>
                                <a:pt x="6" y="166"/>
                              </a:cubicBezTo>
                              <a:cubicBezTo>
                                <a:pt x="7" y="159"/>
                                <a:pt x="22" y="144"/>
                                <a:pt x="6" y="140"/>
                              </a:cubicBezTo>
                              <a:cubicBezTo>
                                <a:pt x="0" y="130"/>
                                <a:pt x="13" y="133"/>
                                <a:pt x="21" y="133"/>
                              </a:cubicBezTo>
                              <a:cubicBezTo>
                                <a:pt x="26" y="132"/>
                                <a:pt x="28" y="133"/>
                                <a:pt x="30" y="128"/>
                              </a:cubicBezTo>
                              <a:cubicBezTo>
                                <a:pt x="34" y="131"/>
                                <a:pt x="36" y="130"/>
                                <a:pt x="41" y="128"/>
                              </a:cubicBezTo>
                              <a:cubicBezTo>
                                <a:pt x="47" y="130"/>
                                <a:pt x="48" y="131"/>
                                <a:pt x="54" y="129"/>
                              </a:cubicBezTo>
                              <a:cubicBezTo>
                                <a:pt x="60" y="120"/>
                                <a:pt x="60" y="119"/>
                                <a:pt x="70" y="116"/>
                              </a:cubicBezTo>
                              <a:cubicBezTo>
                                <a:pt x="90" y="118"/>
                                <a:pt x="86" y="118"/>
                                <a:pt x="84" y="92"/>
                              </a:cubicBezTo>
                              <a:cubicBezTo>
                                <a:pt x="84" y="91"/>
                                <a:pt x="84" y="90"/>
                                <a:pt x="83" y="89"/>
                              </a:cubicBezTo>
                              <a:cubicBezTo>
                                <a:pt x="80" y="86"/>
                                <a:pt x="71" y="85"/>
                                <a:pt x="68" y="85"/>
                              </a:cubicBezTo>
                              <a:cubicBezTo>
                                <a:pt x="67" y="73"/>
                                <a:pt x="67" y="80"/>
                                <a:pt x="62" y="73"/>
                              </a:cubicBezTo>
                              <a:cubicBezTo>
                                <a:pt x="62" y="67"/>
                                <a:pt x="63" y="61"/>
                                <a:pt x="61" y="56"/>
                              </a:cubicBezTo>
                              <a:cubicBezTo>
                                <a:pt x="60" y="54"/>
                                <a:pt x="55" y="52"/>
                                <a:pt x="55" y="52"/>
                              </a:cubicBezTo>
                              <a:cubicBezTo>
                                <a:pt x="48" y="41"/>
                                <a:pt x="72" y="39"/>
                                <a:pt x="77" y="39"/>
                              </a:cubicBezTo>
                              <a:cubicBezTo>
                                <a:pt x="81" y="38"/>
                                <a:pt x="84" y="38"/>
                                <a:pt x="87" y="34"/>
                              </a:cubicBezTo>
                              <a:cubicBezTo>
                                <a:pt x="85" y="24"/>
                                <a:pt x="76" y="25"/>
                                <a:pt x="68" y="20"/>
                              </a:cubicBezTo>
                              <a:cubicBezTo>
                                <a:pt x="65" y="12"/>
                                <a:pt x="61" y="12"/>
                                <a:pt x="53" y="9"/>
                              </a:cubicBezTo>
                              <a:cubicBezTo>
                                <a:pt x="50" y="0"/>
                                <a:pt x="71" y="6"/>
                                <a:pt x="80" y="6"/>
                              </a:cubicBezTo>
                              <a:cubicBezTo>
                                <a:pt x="84" y="12"/>
                                <a:pt x="88" y="9"/>
                                <a:pt x="94" y="8"/>
                              </a:cubicBezTo>
                              <a:cubicBezTo>
                                <a:pt x="100" y="4"/>
                                <a:pt x="101" y="5"/>
                                <a:pt x="108" y="6"/>
                              </a:cubicBezTo>
                              <a:cubicBezTo>
                                <a:pt x="110" y="13"/>
                                <a:pt x="119" y="7"/>
                                <a:pt x="125" y="9"/>
                              </a:cubicBezTo>
                              <a:cubicBezTo>
                                <a:pt x="129" y="11"/>
                                <a:pt x="128" y="14"/>
                                <a:pt x="132" y="15"/>
                              </a:cubicBezTo>
                              <a:cubicBezTo>
                                <a:pt x="134" y="23"/>
                                <a:pt x="135" y="23"/>
                                <a:pt x="144" y="24"/>
                              </a:cubicBezTo>
                              <a:cubicBezTo>
                                <a:pt x="146" y="38"/>
                                <a:pt x="147" y="36"/>
                                <a:pt x="160" y="38"/>
                              </a:cubicBezTo>
                              <a:cubicBezTo>
                                <a:pt x="162" y="44"/>
                                <a:pt x="170" y="42"/>
                                <a:pt x="175" y="43"/>
                              </a:cubicBezTo>
                              <a:cubicBezTo>
                                <a:pt x="177" y="50"/>
                                <a:pt x="176" y="44"/>
                                <a:pt x="182" y="46"/>
                              </a:cubicBezTo>
                              <a:cubicBezTo>
                                <a:pt x="197" y="45"/>
                                <a:pt x="208" y="44"/>
                                <a:pt x="223" y="43"/>
                              </a:cubicBezTo>
                              <a:cubicBezTo>
                                <a:pt x="230" y="41"/>
                                <a:pt x="237" y="41"/>
                                <a:pt x="244" y="42"/>
                              </a:cubicBezTo>
                              <a:cubicBezTo>
                                <a:pt x="247" y="52"/>
                                <a:pt x="243" y="61"/>
                                <a:pt x="256" y="63"/>
                              </a:cubicBezTo>
                              <a:cubicBezTo>
                                <a:pt x="257" y="68"/>
                                <a:pt x="257" y="69"/>
                                <a:pt x="262" y="71"/>
                              </a:cubicBezTo>
                              <a:cubicBezTo>
                                <a:pt x="267" y="67"/>
                                <a:pt x="268" y="68"/>
                                <a:pt x="275" y="69"/>
                              </a:cubicBezTo>
                              <a:cubicBezTo>
                                <a:pt x="279" y="72"/>
                                <a:pt x="285" y="73"/>
                                <a:pt x="290" y="75"/>
                              </a:cubicBezTo>
                              <a:cubicBezTo>
                                <a:pt x="287" y="83"/>
                                <a:pt x="293" y="80"/>
                                <a:pt x="298" y="83"/>
                              </a:cubicBezTo>
                              <a:cubicBezTo>
                                <a:pt x="300" y="84"/>
                                <a:pt x="304" y="87"/>
                                <a:pt x="304" y="87"/>
                              </a:cubicBezTo>
                              <a:cubicBezTo>
                                <a:pt x="307" y="79"/>
                                <a:pt x="302" y="89"/>
                                <a:pt x="314" y="83"/>
                              </a:cubicBezTo>
                              <a:cubicBezTo>
                                <a:pt x="318" y="81"/>
                                <a:pt x="306" y="78"/>
                                <a:pt x="316" y="81"/>
                              </a:cubicBezTo>
                              <a:cubicBezTo>
                                <a:pt x="318" y="87"/>
                                <a:pt x="318" y="84"/>
                                <a:pt x="324" y="85"/>
                              </a:cubicBezTo>
                              <a:cubicBezTo>
                                <a:pt x="325" y="92"/>
                                <a:pt x="328" y="89"/>
                                <a:pt x="333" y="93"/>
                              </a:cubicBezTo>
                              <a:cubicBezTo>
                                <a:pt x="336" y="102"/>
                                <a:pt x="344" y="100"/>
                                <a:pt x="352" y="101"/>
                              </a:cubicBezTo>
                              <a:cubicBezTo>
                                <a:pt x="351" y="109"/>
                                <a:pt x="351" y="114"/>
                                <a:pt x="343" y="116"/>
                              </a:cubicBezTo>
                              <a:cubicBezTo>
                                <a:pt x="340" y="126"/>
                                <a:pt x="347" y="108"/>
                                <a:pt x="345" y="129"/>
                              </a:cubicBezTo>
                              <a:cubicBezTo>
                                <a:pt x="360" y="132"/>
                                <a:pt x="345" y="150"/>
                                <a:pt x="359" y="153"/>
                              </a:cubicBezTo>
                              <a:cubicBezTo>
                                <a:pt x="357" y="158"/>
                                <a:pt x="356" y="160"/>
                                <a:pt x="355" y="165"/>
                              </a:cubicBezTo>
                              <a:cubicBezTo>
                                <a:pt x="351" y="165"/>
                                <a:pt x="338" y="161"/>
                                <a:pt x="335" y="162"/>
                              </a:cubicBezTo>
                              <a:cubicBezTo>
                                <a:pt x="333" y="168"/>
                                <a:pt x="322" y="166"/>
                                <a:pt x="316" y="167"/>
                              </a:cubicBezTo>
                              <a:cubicBezTo>
                                <a:pt x="315" y="171"/>
                                <a:pt x="310" y="175"/>
                                <a:pt x="305" y="177"/>
                              </a:cubicBezTo>
                              <a:cubicBezTo>
                                <a:pt x="302" y="185"/>
                                <a:pt x="297" y="182"/>
                                <a:pt x="289" y="181"/>
                              </a:cubicBezTo>
                              <a:cubicBezTo>
                                <a:pt x="282" y="182"/>
                                <a:pt x="278" y="185"/>
                                <a:pt x="272" y="187"/>
                              </a:cubicBezTo>
                              <a:cubicBezTo>
                                <a:pt x="271" y="190"/>
                                <a:pt x="265" y="194"/>
                                <a:pt x="271" y="190"/>
                              </a:cubicBez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52" name="Freeform 41"/>
                        <p:cNvSpPr>
                          <a:spLocks/>
                        </p:cNvSpPr>
                        <p:nvPr/>
                      </p:nvSpPr>
                      <p:spPr bwMode="auto">
                        <a:xfrm>
                          <a:off x="2478977" y="2340058"/>
                          <a:ext cx="475661" cy="547040"/>
                        </a:xfrm>
                        <a:custGeom>
                          <a:avLst/>
                          <a:gdLst>
                            <a:gd name="T0" fmla="*/ 2147483647 w 257"/>
                            <a:gd name="T1" fmla="*/ 2147483647 h 257"/>
                            <a:gd name="T2" fmla="*/ 2147483647 w 257"/>
                            <a:gd name="T3" fmla="*/ 2147483647 h 257"/>
                            <a:gd name="T4" fmla="*/ 2147483647 w 257"/>
                            <a:gd name="T5" fmla="*/ 2147483647 h 257"/>
                            <a:gd name="T6" fmla="*/ 2147483647 w 257"/>
                            <a:gd name="T7" fmla="*/ 2147483647 h 257"/>
                            <a:gd name="T8" fmla="*/ 2147483647 w 257"/>
                            <a:gd name="T9" fmla="*/ 2147483647 h 257"/>
                            <a:gd name="T10" fmla="*/ 2147483647 w 257"/>
                            <a:gd name="T11" fmla="*/ 2147483647 h 257"/>
                            <a:gd name="T12" fmla="*/ 2147483647 w 257"/>
                            <a:gd name="T13" fmla="*/ 2147483647 h 257"/>
                            <a:gd name="T14" fmla="*/ 2147483647 w 257"/>
                            <a:gd name="T15" fmla="*/ 2147483647 h 257"/>
                            <a:gd name="T16" fmla="*/ 2147483647 w 257"/>
                            <a:gd name="T17" fmla="*/ 2147483647 h 257"/>
                            <a:gd name="T18" fmla="*/ 2147483647 w 257"/>
                            <a:gd name="T19" fmla="*/ 2147483647 h 257"/>
                            <a:gd name="T20" fmla="*/ 2147483647 w 257"/>
                            <a:gd name="T21" fmla="*/ 2147483647 h 257"/>
                            <a:gd name="T22" fmla="*/ 2147483647 w 257"/>
                            <a:gd name="T23" fmla="*/ 2147483647 h 257"/>
                            <a:gd name="T24" fmla="*/ 2147483647 w 257"/>
                            <a:gd name="T25" fmla="*/ 2147483647 h 257"/>
                            <a:gd name="T26" fmla="*/ 2147483647 w 257"/>
                            <a:gd name="T27" fmla="*/ 2147483647 h 257"/>
                            <a:gd name="T28" fmla="*/ 2147483647 w 257"/>
                            <a:gd name="T29" fmla="*/ 2147483647 h 257"/>
                            <a:gd name="T30" fmla="*/ 2147483647 w 257"/>
                            <a:gd name="T31" fmla="*/ 2147483647 h 257"/>
                            <a:gd name="T32" fmla="*/ 2147483647 w 257"/>
                            <a:gd name="T33" fmla="*/ 2147483647 h 257"/>
                            <a:gd name="T34" fmla="*/ 2147483647 w 257"/>
                            <a:gd name="T35" fmla="*/ 2147483647 h 257"/>
                            <a:gd name="T36" fmla="*/ 2147483647 w 257"/>
                            <a:gd name="T37" fmla="*/ 2147483647 h 257"/>
                            <a:gd name="T38" fmla="*/ 2147483647 w 257"/>
                            <a:gd name="T39" fmla="*/ 2147483647 h 257"/>
                            <a:gd name="T40" fmla="*/ 2147483647 w 257"/>
                            <a:gd name="T41" fmla="*/ 2147483647 h 257"/>
                            <a:gd name="T42" fmla="*/ 2147483647 w 257"/>
                            <a:gd name="T43" fmla="*/ 2147483647 h 257"/>
                            <a:gd name="T44" fmla="*/ 2147483647 w 257"/>
                            <a:gd name="T45" fmla="*/ 2147483647 h 257"/>
                            <a:gd name="T46" fmla="*/ 2147483647 w 257"/>
                            <a:gd name="T47" fmla="*/ 2147483647 h 257"/>
                            <a:gd name="T48" fmla="*/ 2147483647 w 257"/>
                            <a:gd name="T49" fmla="*/ 2147483647 h 257"/>
                            <a:gd name="T50" fmla="*/ 2147483647 w 257"/>
                            <a:gd name="T51" fmla="*/ 2147483647 h 257"/>
                            <a:gd name="T52" fmla="*/ 2147483647 w 257"/>
                            <a:gd name="T53" fmla="*/ 2147483647 h 257"/>
                            <a:gd name="T54" fmla="*/ 2147483647 w 257"/>
                            <a:gd name="T55" fmla="*/ 2147483647 h 257"/>
                            <a:gd name="T56" fmla="*/ 2147483647 w 257"/>
                            <a:gd name="T57" fmla="*/ 2147483647 h 257"/>
                            <a:gd name="T58" fmla="*/ 2147483647 w 257"/>
                            <a:gd name="T59" fmla="*/ 2147483647 h 257"/>
                            <a:gd name="T60" fmla="*/ 2147483647 w 257"/>
                            <a:gd name="T61" fmla="*/ 2147483647 h 257"/>
                            <a:gd name="T62" fmla="*/ 2147483647 w 257"/>
                            <a:gd name="T63" fmla="*/ 2147483647 h 257"/>
                            <a:gd name="T64" fmla="*/ 2147483647 w 257"/>
                            <a:gd name="T65" fmla="*/ 2147483647 h 257"/>
                            <a:gd name="T66" fmla="*/ 2147483647 w 257"/>
                            <a:gd name="T67" fmla="*/ 2147483647 h 2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7"/>
                            <a:gd name="T103" fmla="*/ 0 h 257"/>
                            <a:gd name="T104" fmla="*/ 257 w 257"/>
                            <a:gd name="T105" fmla="*/ 257 h 25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7" h="257">
                              <a:moveTo>
                                <a:pt x="22" y="48"/>
                              </a:moveTo>
                              <a:cubicBezTo>
                                <a:pt x="25" y="52"/>
                                <a:pt x="24" y="55"/>
                                <a:pt x="21" y="59"/>
                              </a:cubicBezTo>
                              <a:cubicBezTo>
                                <a:pt x="21" y="68"/>
                                <a:pt x="21" y="110"/>
                                <a:pt x="31" y="113"/>
                              </a:cubicBezTo>
                              <a:cubicBezTo>
                                <a:pt x="30" y="125"/>
                                <a:pt x="33" y="126"/>
                                <a:pt x="22" y="128"/>
                              </a:cubicBezTo>
                              <a:cubicBezTo>
                                <a:pt x="15" y="130"/>
                                <a:pt x="16" y="134"/>
                                <a:pt x="7" y="135"/>
                              </a:cubicBezTo>
                              <a:cubicBezTo>
                                <a:pt x="0" y="139"/>
                                <a:pt x="3" y="142"/>
                                <a:pt x="4" y="149"/>
                              </a:cubicBezTo>
                              <a:cubicBezTo>
                                <a:pt x="12" y="147"/>
                                <a:pt x="11" y="144"/>
                                <a:pt x="22" y="143"/>
                              </a:cubicBezTo>
                              <a:cubicBezTo>
                                <a:pt x="27" y="140"/>
                                <a:pt x="29" y="143"/>
                                <a:pt x="34" y="145"/>
                              </a:cubicBezTo>
                              <a:cubicBezTo>
                                <a:pt x="34" y="151"/>
                                <a:pt x="36" y="157"/>
                                <a:pt x="33" y="162"/>
                              </a:cubicBezTo>
                              <a:cubicBezTo>
                                <a:pt x="28" y="171"/>
                                <a:pt x="22" y="157"/>
                                <a:pt x="26" y="170"/>
                              </a:cubicBezTo>
                              <a:cubicBezTo>
                                <a:pt x="24" y="180"/>
                                <a:pt x="23" y="185"/>
                                <a:pt x="34" y="186"/>
                              </a:cubicBezTo>
                              <a:cubicBezTo>
                                <a:pt x="33" y="201"/>
                                <a:pt x="34" y="195"/>
                                <a:pt x="49" y="194"/>
                              </a:cubicBezTo>
                              <a:cubicBezTo>
                                <a:pt x="54" y="187"/>
                                <a:pt x="56" y="189"/>
                                <a:pt x="66" y="190"/>
                              </a:cubicBezTo>
                              <a:cubicBezTo>
                                <a:pt x="71" y="192"/>
                                <a:pt x="74" y="193"/>
                                <a:pt x="80" y="190"/>
                              </a:cubicBezTo>
                              <a:cubicBezTo>
                                <a:pt x="82" y="189"/>
                                <a:pt x="80" y="186"/>
                                <a:pt x="81" y="185"/>
                              </a:cubicBezTo>
                              <a:cubicBezTo>
                                <a:pt x="82" y="183"/>
                                <a:pt x="87" y="181"/>
                                <a:pt x="87" y="181"/>
                              </a:cubicBezTo>
                              <a:cubicBezTo>
                                <a:pt x="94" y="182"/>
                                <a:pt x="101" y="183"/>
                                <a:pt x="107" y="179"/>
                              </a:cubicBezTo>
                              <a:cubicBezTo>
                                <a:pt x="114" y="180"/>
                                <a:pt x="112" y="182"/>
                                <a:pt x="118" y="184"/>
                              </a:cubicBezTo>
                              <a:cubicBezTo>
                                <a:pt x="118" y="188"/>
                                <a:pt x="121" y="191"/>
                                <a:pt x="120" y="195"/>
                              </a:cubicBezTo>
                              <a:cubicBezTo>
                                <a:pt x="120" y="196"/>
                                <a:pt x="117" y="197"/>
                                <a:pt x="118" y="198"/>
                              </a:cubicBezTo>
                              <a:cubicBezTo>
                                <a:pt x="119" y="199"/>
                                <a:pt x="121" y="197"/>
                                <a:pt x="122" y="197"/>
                              </a:cubicBezTo>
                              <a:cubicBezTo>
                                <a:pt x="126" y="194"/>
                                <a:pt x="127" y="194"/>
                                <a:pt x="129" y="199"/>
                              </a:cubicBezTo>
                              <a:cubicBezTo>
                                <a:pt x="126" y="207"/>
                                <a:pt x="127" y="204"/>
                                <a:pt x="121" y="208"/>
                              </a:cubicBezTo>
                              <a:cubicBezTo>
                                <a:pt x="122" y="213"/>
                                <a:pt x="122" y="225"/>
                                <a:pt x="116" y="227"/>
                              </a:cubicBezTo>
                              <a:cubicBezTo>
                                <a:pt x="111" y="235"/>
                                <a:pt x="106" y="228"/>
                                <a:pt x="102" y="240"/>
                              </a:cubicBezTo>
                              <a:cubicBezTo>
                                <a:pt x="104" y="245"/>
                                <a:pt x="107" y="244"/>
                                <a:pt x="111" y="243"/>
                              </a:cubicBezTo>
                              <a:cubicBezTo>
                                <a:pt x="114" y="239"/>
                                <a:pt x="124" y="237"/>
                                <a:pt x="124" y="237"/>
                              </a:cubicBezTo>
                              <a:cubicBezTo>
                                <a:pt x="137" y="240"/>
                                <a:pt x="119" y="253"/>
                                <a:pt x="138" y="257"/>
                              </a:cubicBezTo>
                              <a:cubicBezTo>
                                <a:pt x="149" y="249"/>
                                <a:pt x="135" y="252"/>
                                <a:pt x="161" y="251"/>
                              </a:cubicBezTo>
                              <a:cubicBezTo>
                                <a:pt x="162" y="246"/>
                                <a:pt x="161" y="235"/>
                                <a:pt x="167" y="233"/>
                              </a:cubicBezTo>
                              <a:cubicBezTo>
                                <a:pt x="174" y="233"/>
                                <a:pt x="184" y="230"/>
                                <a:pt x="189" y="235"/>
                              </a:cubicBezTo>
                              <a:cubicBezTo>
                                <a:pt x="196" y="242"/>
                                <a:pt x="184" y="237"/>
                                <a:pt x="193" y="240"/>
                              </a:cubicBezTo>
                              <a:cubicBezTo>
                                <a:pt x="195" y="247"/>
                                <a:pt x="198" y="245"/>
                                <a:pt x="205" y="244"/>
                              </a:cubicBezTo>
                              <a:cubicBezTo>
                                <a:pt x="203" y="237"/>
                                <a:pt x="209" y="230"/>
                                <a:pt x="200" y="228"/>
                              </a:cubicBezTo>
                              <a:cubicBezTo>
                                <a:pt x="196" y="223"/>
                                <a:pt x="206" y="223"/>
                                <a:pt x="210" y="220"/>
                              </a:cubicBezTo>
                              <a:cubicBezTo>
                                <a:pt x="214" y="215"/>
                                <a:pt x="220" y="219"/>
                                <a:pt x="225" y="220"/>
                              </a:cubicBezTo>
                              <a:cubicBezTo>
                                <a:pt x="231" y="224"/>
                                <a:pt x="238" y="223"/>
                                <a:pt x="245" y="222"/>
                              </a:cubicBezTo>
                              <a:cubicBezTo>
                                <a:pt x="252" y="218"/>
                                <a:pt x="250" y="213"/>
                                <a:pt x="245" y="208"/>
                              </a:cubicBezTo>
                              <a:cubicBezTo>
                                <a:pt x="246" y="197"/>
                                <a:pt x="250" y="193"/>
                                <a:pt x="253" y="184"/>
                              </a:cubicBezTo>
                              <a:cubicBezTo>
                                <a:pt x="254" y="177"/>
                                <a:pt x="257" y="169"/>
                                <a:pt x="253" y="164"/>
                              </a:cubicBezTo>
                              <a:cubicBezTo>
                                <a:pt x="251" y="162"/>
                                <a:pt x="244" y="161"/>
                                <a:pt x="244" y="161"/>
                              </a:cubicBezTo>
                              <a:cubicBezTo>
                                <a:pt x="242" y="155"/>
                                <a:pt x="243" y="146"/>
                                <a:pt x="238" y="143"/>
                              </a:cubicBezTo>
                              <a:cubicBezTo>
                                <a:pt x="239" y="134"/>
                                <a:pt x="242" y="131"/>
                                <a:pt x="232" y="129"/>
                              </a:cubicBezTo>
                              <a:cubicBezTo>
                                <a:pt x="226" y="120"/>
                                <a:pt x="224" y="109"/>
                                <a:pt x="234" y="102"/>
                              </a:cubicBezTo>
                              <a:cubicBezTo>
                                <a:pt x="239" y="94"/>
                                <a:pt x="236" y="96"/>
                                <a:pt x="246" y="95"/>
                              </a:cubicBezTo>
                              <a:cubicBezTo>
                                <a:pt x="247" y="92"/>
                                <a:pt x="249" y="89"/>
                                <a:pt x="250" y="86"/>
                              </a:cubicBezTo>
                              <a:cubicBezTo>
                                <a:pt x="252" y="66"/>
                                <a:pt x="256" y="66"/>
                                <a:pt x="241" y="56"/>
                              </a:cubicBezTo>
                              <a:cubicBezTo>
                                <a:pt x="242" y="54"/>
                                <a:pt x="241" y="51"/>
                                <a:pt x="243" y="49"/>
                              </a:cubicBezTo>
                              <a:cubicBezTo>
                                <a:pt x="245" y="48"/>
                                <a:pt x="249" y="47"/>
                                <a:pt x="249" y="47"/>
                              </a:cubicBezTo>
                              <a:cubicBezTo>
                                <a:pt x="250" y="42"/>
                                <a:pt x="251" y="39"/>
                                <a:pt x="245" y="41"/>
                              </a:cubicBezTo>
                              <a:cubicBezTo>
                                <a:pt x="239" y="45"/>
                                <a:pt x="230" y="46"/>
                                <a:pt x="226" y="39"/>
                              </a:cubicBezTo>
                              <a:cubicBezTo>
                                <a:pt x="228" y="32"/>
                                <a:pt x="229" y="25"/>
                                <a:pt x="223" y="21"/>
                              </a:cubicBezTo>
                              <a:cubicBezTo>
                                <a:pt x="222" y="23"/>
                                <a:pt x="222" y="27"/>
                                <a:pt x="220" y="28"/>
                              </a:cubicBezTo>
                              <a:cubicBezTo>
                                <a:pt x="217" y="30"/>
                                <a:pt x="210" y="30"/>
                                <a:pt x="210" y="30"/>
                              </a:cubicBezTo>
                              <a:cubicBezTo>
                                <a:pt x="209" y="34"/>
                                <a:pt x="207" y="35"/>
                                <a:pt x="203" y="36"/>
                              </a:cubicBezTo>
                              <a:cubicBezTo>
                                <a:pt x="199" y="35"/>
                                <a:pt x="193" y="28"/>
                                <a:pt x="193" y="28"/>
                              </a:cubicBezTo>
                              <a:cubicBezTo>
                                <a:pt x="191" y="24"/>
                                <a:pt x="194" y="20"/>
                                <a:pt x="198" y="19"/>
                              </a:cubicBezTo>
                              <a:cubicBezTo>
                                <a:pt x="196" y="9"/>
                                <a:pt x="190" y="19"/>
                                <a:pt x="186" y="20"/>
                              </a:cubicBezTo>
                              <a:cubicBezTo>
                                <a:pt x="180" y="29"/>
                                <a:pt x="166" y="23"/>
                                <a:pt x="156" y="23"/>
                              </a:cubicBezTo>
                              <a:cubicBezTo>
                                <a:pt x="151" y="21"/>
                                <a:pt x="154" y="19"/>
                                <a:pt x="150" y="16"/>
                              </a:cubicBezTo>
                              <a:cubicBezTo>
                                <a:pt x="143" y="11"/>
                                <a:pt x="127" y="10"/>
                                <a:pt x="119" y="9"/>
                              </a:cubicBezTo>
                              <a:cubicBezTo>
                                <a:pt x="110" y="6"/>
                                <a:pt x="106" y="4"/>
                                <a:pt x="96" y="3"/>
                              </a:cubicBezTo>
                              <a:cubicBezTo>
                                <a:pt x="90" y="1"/>
                                <a:pt x="83" y="0"/>
                                <a:pt x="79" y="6"/>
                              </a:cubicBezTo>
                              <a:cubicBezTo>
                                <a:pt x="80" y="14"/>
                                <a:pt x="81" y="17"/>
                                <a:pt x="80" y="24"/>
                              </a:cubicBezTo>
                              <a:cubicBezTo>
                                <a:pt x="75" y="22"/>
                                <a:pt x="72" y="20"/>
                                <a:pt x="67" y="19"/>
                              </a:cubicBezTo>
                              <a:cubicBezTo>
                                <a:pt x="65" y="14"/>
                                <a:pt x="64" y="15"/>
                                <a:pt x="59" y="16"/>
                              </a:cubicBezTo>
                              <a:cubicBezTo>
                                <a:pt x="54" y="19"/>
                                <a:pt x="41" y="22"/>
                                <a:pt x="34" y="24"/>
                              </a:cubicBezTo>
                              <a:cubicBezTo>
                                <a:pt x="31" y="32"/>
                                <a:pt x="25" y="41"/>
                                <a:pt x="22" y="50"/>
                              </a:cubicBezTo>
                              <a:cubicBezTo>
                                <a:pt x="22" y="54"/>
                                <a:pt x="21" y="62"/>
                                <a:pt x="21" y="62"/>
                              </a:cubicBezTo>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53" name="Freeform 42"/>
                        <p:cNvSpPr>
                          <a:spLocks noChangeArrowheads="1"/>
                        </p:cNvSpPr>
                        <p:nvPr/>
                      </p:nvSpPr>
                      <p:spPr bwMode="auto">
                        <a:xfrm>
                          <a:off x="2035643" y="2437781"/>
                          <a:ext cx="521841" cy="447192"/>
                        </a:xfrm>
                        <a:custGeom>
                          <a:avLst/>
                          <a:gdLst>
                            <a:gd name="T0" fmla="*/ 2147483647 w 282"/>
                            <a:gd name="T1" fmla="*/ 2147483647 h 210"/>
                            <a:gd name="T2" fmla="*/ 2147483647 w 282"/>
                            <a:gd name="T3" fmla="*/ 2147483647 h 210"/>
                            <a:gd name="T4" fmla="*/ 2147483647 w 282"/>
                            <a:gd name="T5" fmla="*/ 2147483647 h 210"/>
                            <a:gd name="T6" fmla="*/ 2147483647 w 282"/>
                            <a:gd name="T7" fmla="*/ 2147483647 h 210"/>
                            <a:gd name="T8" fmla="*/ 2147483647 w 282"/>
                            <a:gd name="T9" fmla="*/ 2147483647 h 210"/>
                            <a:gd name="T10" fmla="*/ 2147483647 w 282"/>
                            <a:gd name="T11" fmla="*/ 2147483647 h 210"/>
                            <a:gd name="T12" fmla="*/ 2147483647 w 282"/>
                            <a:gd name="T13" fmla="*/ 2147483647 h 210"/>
                            <a:gd name="T14" fmla="*/ 2147483647 w 282"/>
                            <a:gd name="T15" fmla="*/ 2147483647 h 210"/>
                            <a:gd name="T16" fmla="*/ 2147483647 w 282"/>
                            <a:gd name="T17" fmla="*/ 2147483647 h 210"/>
                            <a:gd name="T18" fmla="*/ 2147483647 w 282"/>
                            <a:gd name="T19" fmla="*/ 2147483647 h 210"/>
                            <a:gd name="T20" fmla="*/ 2147483647 w 282"/>
                            <a:gd name="T21" fmla="*/ 2147483647 h 210"/>
                            <a:gd name="T22" fmla="*/ 2147483647 w 282"/>
                            <a:gd name="T23" fmla="*/ 2147483647 h 210"/>
                            <a:gd name="T24" fmla="*/ 2147483647 w 282"/>
                            <a:gd name="T25" fmla="*/ 2147483647 h 210"/>
                            <a:gd name="T26" fmla="*/ 2147483647 w 282"/>
                            <a:gd name="T27" fmla="*/ 2147483647 h 210"/>
                            <a:gd name="T28" fmla="*/ 2147483647 w 282"/>
                            <a:gd name="T29" fmla="*/ 2147483647 h 210"/>
                            <a:gd name="T30" fmla="*/ 2147483647 w 282"/>
                            <a:gd name="T31" fmla="*/ 2147483647 h 210"/>
                            <a:gd name="T32" fmla="*/ 2147483647 w 282"/>
                            <a:gd name="T33" fmla="*/ 2147483647 h 210"/>
                            <a:gd name="T34" fmla="*/ 2147483647 w 282"/>
                            <a:gd name="T35" fmla="*/ 2147483647 h 210"/>
                            <a:gd name="T36" fmla="*/ 2147483647 w 282"/>
                            <a:gd name="T37" fmla="*/ 2147483647 h 210"/>
                            <a:gd name="T38" fmla="*/ 2147483647 w 282"/>
                            <a:gd name="T39" fmla="*/ 2147483647 h 210"/>
                            <a:gd name="T40" fmla="*/ 2147483647 w 282"/>
                            <a:gd name="T41" fmla="*/ 2147483647 h 210"/>
                            <a:gd name="T42" fmla="*/ 2147483647 w 282"/>
                            <a:gd name="T43" fmla="*/ 2147483647 h 210"/>
                            <a:gd name="T44" fmla="*/ 2147483647 w 282"/>
                            <a:gd name="T45" fmla="*/ 2147483647 h 210"/>
                            <a:gd name="T46" fmla="*/ 2147483647 w 282"/>
                            <a:gd name="T47" fmla="*/ 2147483647 h 210"/>
                            <a:gd name="T48" fmla="*/ 2147483647 w 282"/>
                            <a:gd name="T49" fmla="*/ 2147483647 h 210"/>
                            <a:gd name="T50" fmla="*/ 2147483647 w 282"/>
                            <a:gd name="T51" fmla="*/ 2147483647 h 210"/>
                            <a:gd name="T52" fmla="*/ 2147483647 w 282"/>
                            <a:gd name="T53" fmla="*/ 2147483647 h 210"/>
                            <a:gd name="T54" fmla="*/ 2147483647 w 282"/>
                            <a:gd name="T55" fmla="*/ 2147483647 h 210"/>
                            <a:gd name="T56" fmla="*/ 2147483647 w 282"/>
                            <a:gd name="T57" fmla="*/ 2147483647 h 210"/>
                            <a:gd name="T58" fmla="*/ 2147483647 w 282"/>
                            <a:gd name="T59" fmla="*/ 2147483647 h 210"/>
                            <a:gd name="T60" fmla="*/ 2147483647 w 282"/>
                            <a:gd name="T61" fmla="*/ 2147483647 h 210"/>
                            <a:gd name="T62" fmla="*/ 2147483647 w 282"/>
                            <a:gd name="T63" fmla="*/ 0 h 210"/>
                            <a:gd name="T64" fmla="*/ 2147483647 w 282"/>
                            <a:gd name="T65" fmla="*/ 2147483647 h 210"/>
                            <a:gd name="T66" fmla="*/ 2147483647 w 282"/>
                            <a:gd name="T67" fmla="*/ 2147483647 h 21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82"/>
                            <a:gd name="T103" fmla="*/ 0 h 210"/>
                            <a:gd name="T104" fmla="*/ 282 w 282"/>
                            <a:gd name="T105" fmla="*/ 210 h 21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82" h="210">
                              <a:moveTo>
                                <a:pt x="132" y="24"/>
                              </a:moveTo>
                              <a:cubicBezTo>
                                <a:pt x="137" y="26"/>
                                <a:pt x="136" y="32"/>
                                <a:pt x="130" y="30"/>
                              </a:cubicBezTo>
                              <a:cubicBezTo>
                                <a:pt x="124" y="26"/>
                                <a:pt x="121" y="20"/>
                                <a:pt x="114" y="18"/>
                              </a:cubicBezTo>
                              <a:cubicBezTo>
                                <a:pt x="104" y="19"/>
                                <a:pt x="105" y="20"/>
                                <a:pt x="98" y="25"/>
                              </a:cubicBezTo>
                              <a:cubicBezTo>
                                <a:pt x="97" y="28"/>
                                <a:pt x="96" y="35"/>
                                <a:pt x="99" y="37"/>
                              </a:cubicBezTo>
                              <a:cubicBezTo>
                                <a:pt x="101" y="38"/>
                                <a:pt x="105" y="39"/>
                                <a:pt x="105" y="39"/>
                              </a:cubicBezTo>
                              <a:cubicBezTo>
                                <a:pt x="109" y="50"/>
                                <a:pt x="111" y="46"/>
                                <a:pt x="126" y="47"/>
                              </a:cubicBezTo>
                              <a:cubicBezTo>
                                <a:pt x="126" y="52"/>
                                <a:pt x="128" y="57"/>
                                <a:pt x="125" y="61"/>
                              </a:cubicBezTo>
                              <a:cubicBezTo>
                                <a:pt x="124" y="62"/>
                                <a:pt x="88" y="64"/>
                                <a:pt x="86" y="64"/>
                              </a:cubicBezTo>
                              <a:cubicBezTo>
                                <a:pt x="82" y="66"/>
                                <a:pt x="83" y="77"/>
                                <a:pt x="81" y="77"/>
                              </a:cubicBezTo>
                              <a:cubicBezTo>
                                <a:pt x="74" y="79"/>
                                <a:pt x="66" y="78"/>
                                <a:pt x="59" y="78"/>
                              </a:cubicBezTo>
                              <a:cubicBezTo>
                                <a:pt x="55" y="84"/>
                                <a:pt x="54" y="83"/>
                                <a:pt x="47" y="82"/>
                              </a:cubicBezTo>
                              <a:cubicBezTo>
                                <a:pt x="43" y="81"/>
                                <a:pt x="44" y="78"/>
                                <a:pt x="40" y="77"/>
                              </a:cubicBezTo>
                              <a:cubicBezTo>
                                <a:pt x="40" y="76"/>
                                <a:pt x="40" y="74"/>
                                <a:pt x="39" y="74"/>
                              </a:cubicBezTo>
                              <a:cubicBezTo>
                                <a:pt x="38" y="74"/>
                                <a:pt x="38" y="76"/>
                                <a:pt x="37" y="77"/>
                              </a:cubicBezTo>
                              <a:cubicBezTo>
                                <a:pt x="34" y="79"/>
                                <a:pt x="28" y="82"/>
                                <a:pt x="28" y="82"/>
                              </a:cubicBezTo>
                              <a:cubicBezTo>
                                <a:pt x="19" y="81"/>
                                <a:pt x="22" y="80"/>
                                <a:pt x="16" y="76"/>
                              </a:cubicBezTo>
                              <a:cubicBezTo>
                                <a:pt x="11" y="79"/>
                                <a:pt x="10" y="82"/>
                                <a:pt x="5" y="85"/>
                              </a:cubicBezTo>
                              <a:cubicBezTo>
                                <a:pt x="3" y="91"/>
                                <a:pt x="0" y="86"/>
                                <a:pt x="2" y="94"/>
                              </a:cubicBezTo>
                              <a:cubicBezTo>
                                <a:pt x="1" y="103"/>
                                <a:pt x="2" y="101"/>
                                <a:pt x="4" y="108"/>
                              </a:cubicBezTo>
                              <a:cubicBezTo>
                                <a:pt x="5" y="120"/>
                                <a:pt x="6" y="115"/>
                                <a:pt x="15" y="118"/>
                              </a:cubicBezTo>
                              <a:cubicBezTo>
                                <a:pt x="27" y="114"/>
                                <a:pt x="15" y="113"/>
                                <a:pt x="37" y="112"/>
                              </a:cubicBezTo>
                              <a:cubicBezTo>
                                <a:pt x="42" y="120"/>
                                <a:pt x="39" y="120"/>
                                <a:pt x="49" y="122"/>
                              </a:cubicBezTo>
                              <a:cubicBezTo>
                                <a:pt x="48" y="132"/>
                                <a:pt x="49" y="131"/>
                                <a:pt x="41" y="133"/>
                              </a:cubicBezTo>
                              <a:cubicBezTo>
                                <a:pt x="37" y="139"/>
                                <a:pt x="36" y="146"/>
                                <a:pt x="32" y="152"/>
                              </a:cubicBezTo>
                              <a:cubicBezTo>
                                <a:pt x="33" y="166"/>
                                <a:pt x="32" y="167"/>
                                <a:pt x="44" y="169"/>
                              </a:cubicBezTo>
                              <a:cubicBezTo>
                                <a:pt x="45" y="177"/>
                                <a:pt x="50" y="181"/>
                                <a:pt x="44" y="185"/>
                              </a:cubicBezTo>
                              <a:cubicBezTo>
                                <a:pt x="39" y="192"/>
                                <a:pt x="43" y="200"/>
                                <a:pt x="34" y="203"/>
                              </a:cubicBezTo>
                              <a:cubicBezTo>
                                <a:pt x="36" y="210"/>
                                <a:pt x="48" y="205"/>
                                <a:pt x="54" y="204"/>
                              </a:cubicBezTo>
                              <a:cubicBezTo>
                                <a:pt x="63" y="201"/>
                                <a:pt x="56" y="190"/>
                                <a:pt x="66" y="187"/>
                              </a:cubicBezTo>
                              <a:cubicBezTo>
                                <a:pt x="75" y="188"/>
                                <a:pt x="85" y="195"/>
                                <a:pt x="96" y="198"/>
                              </a:cubicBezTo>
                              <a:cubicBezTo>
                                <a:pt x="98" y="201"/>
                                <a:pt x="99" y="205"/>
                                <a:pt x="103" y="206"/>
                              </a:cubicBezTo>
                              <a:cubicBezTo>
                                <a:pt x="106" y="207"/>
                                <a:pt x="111" y="208"/>
                                <a:pt x="111" y="208"/>
                              </a:cubicBezTo>
                              <a:cubicBezTo>
                                <a:pt x="120" y="206"/>
                                <a:pt x="114" y="204"/>
                                <a:pt x="112" y="198"/>
                              </a:cubicBezTo>
                              <a:cubicBezTo>
                                <a:pt x="114" y="192"/>
                                <a:pt x="120" y="194"/>
                                <a:pt x="126" y="193"/>
                              </a:cubicBezTo>
                              <a:cubicBezTo>
                                <a:pt x="132" y="189"/>
                                <a:pt x="139" y="188"/>
                                <a:pt x="146" y="186"/>
                              </a:cubicBezTo>
                              <a:cubicBezTo>
                                <a:pt x="149" y="182"/>
                                <a:pt x="151" y="175"/>
                                <a:pt x="156" y="173"/>
                              </a:cubicBezTo>
                              <a:cubicBezTo>
                                <a:pt x="161" y="166"/>
                                <a:pt x="163" y="168"/>
                                <a:pt x="173" y="169"/>
                              </a:cubicBezTo>
                              <a:cubicBezTo>
                                <a:pt x="174" y="176"/>
                                <a:pt x="177" y="176"/>
                                <a:pt x="179" y="183"/>
                              </a:cubicBezTo>
                              <a:cubicBezTo>
                                <a:pt x="190" y="183"/>
                                <a:pt x="201" y="183"/>
                                <a:pt x="212" y="182"/>
                              </a:cubicBezTo>
                              <a:cubicBezTo>
                                <a:pt x="213" y="182"/>
                                <a:pt x="212" y="180"/>
                                <a:pt x="213" y="179"/>
                              </a:cubicBezTo>
                              <a:cubicBezTo>
                                <a:pt x="214" y="178"/>
                                <a:pt x="215" y="178"/>
                                <a:pt x="216" y="178"/>
                              </a:cubicBezTo>
                              <a:cubicBezTo>
                                <a:pt x="218" y="172"/>
                                <a:pt x="218" y="172"/>
                                <a:pt x="225" y="173"/>
                              </a:cubicBezTo>
                              <a:cubicBezTo>
                                <a:pt x="229" y="176"/>
                                <a:pt x="233" y="176"/>
                                <a:pt x="238" y="178"/>
                              </a:cubicBezTo>
                              <a:cubicBezTo>
                                <a:pt x="240" y="169"/>
                                <a:pt x="243" y="168"/>
                                <a:pt x="252" y="167"/>
                              </a:cubicBezTo>
                              <a:cubicBezTo>
                                <a:pt x="248" y="155"/>
                                <a:pt x="268" y="159"/>
                                <a:pt x="274" y="159"/>
                              </a:cubicBezTo>
                              <a:cubicBezTo>
                                <a:pt x="276" y="153"/>
                                <a:pt x="272" y="151"/>
                                <a:pt x="280" y="149"/>
                              </a:cubicBezTo>
                              <a:cubicBezTo>
                                <a:pt x="279" y="140"/>
                                <a:pt x="275" y="137"/>
                                <a:pt x="270" y="130"/>
                              </a:cubicBezTo>
                              <a:cubicBezTo>
                                <a:pt x="271" y="123"/>
                                <a:pt x="272" y="118"/>
                                <a:pt x="278" y="116"/>
                              </a:cubicBezTo>
                              <a:cubicBezTo>
                                <a:pt x="282" y="111"/>
                                <a:pt x="282" y="104"/>
                                <a:pt x="276" y="100"/>
                              </a:cubicBezTo>
                              <a:cubicBezTo>
                                <a:pt x="274" y="93"/>
                                <a:pt x="269" y="96"/>
                                <a:pt x="262" y="97"/>
                              </a:cubicBezTo>
                              <a:cubicBezTo>
                                <a:pt x="258" y="103"/>
                                <a:pt x="256" y="101"/>
                                <a:pt x="249" y="100"/>
                              </a:cubicBezTo>
                              <a:cubicBezTo>
                                <a:pt x="249" y="100"/>
                                <a:pt x="249" y="90"/>
                                <a:pt x="252" y="88"/>
                              </a:cubicBezTo>
                              <a:cubicBezTo>
                                <a:pt x="256" y="86"/>
                                <a:pt x="264" y="85"/>
                                <a:pt x="264" y="85"/>
                              </a:cubicBezTo>
                              <a:cubicBezTo>
                                <a:pt x="265" y="81"/>
                                <a:pt x="271" y="79"/>
                                <a:pt x="275" y="78"/>
                              </a:cubicBezTo>
                              <a:cubicBezTo>
                                <a:pt x="274" y="70"/>
                                <a:pt x="272" y="67"/>
                                <a:pt x="270" y="60"/>
                              </a:cubicBezTo>
                              <a:cubicBezTo>
                                <a:pt x="269" y="52"/>
                                <a:pt x="268" y="43"/>
                                <a:pt x="266" y="35"/>
                              </a:cubicBezTo>
                              <a:cubicBezTo>
                                <a:pt x="260" y="37"/>
                                <a:pt x="265" y="43"/>
                                <a:pt x="259" y="45"/>
                              </a:cubicBezTo>
                              <a:cubicBezTo>
                                <a:pt x="246" y="44"/>
                                <a:pt x="246" y="43"/>
                                <a:pt x="236" y="40"/>
                              </a:cubicBezTo>
                              <a:cubicBezTo>
                                <a:pt x="235" y="36"/>
                                <a:pt x="232" y="27"/>
                                <a:pt x="228" y="26"/>
                              </a:cubicBezTo>
                              <a:cubicBezTo>
                                <a:pt x="227" y="19"/>
                                <a:pt x="229" y="15"/>
                                <a:pt x="223" y="11"/>
                              </a:cubicBezTo>
                              <a:cubicBezTo>
                                <a:pt x="221" y="7"/>
                                <a:pt x="219" y="7"/>
                                <a:pt x="215" y="5"/>
                              </a:cubicBezTo>
                              <a:cubicBezTo>
                                <a:pt x="210" y="5"/>
                                <a:pt x="205" y="9"/>
                                <a:pt x="200" y="7"/>
                              </a:cubicBezTo>
                              <a:cubicBezTo>
                                <a:pt x="197" y="6"/>
                                <a:pt x="192" y="0"/>
                                <a:pt x="192" y="0"/>
                              </a:cubicBezTo>
                              <a:cubicBezTo>
                                <a:pt x="177" y="1"/>
                                <a:pt x="179" y="1"/>
                                <a:pt x="178" y="16"/>
                              </a:cubicBezTo>
                              <a:cubicBezTo>
                                <a:pt x="171" y="15"/>
                                <a:pt x="165" y="14"/>
                                <a:pt x="158" y="15"/>
                              </a:cubicBezTo>
                              <a:cubicBezTo>
                                <a:pt x="156" y="19"/>
                                <a:pt x="152" y="23"/>
                                <a:pt x="149" y="25"/>
                              </a:cubicBezTo>
                              <a:cubicBezTo>
                                <a:pt x="143" y="24"/>
                                <a:pt x="144" y="22"/>
                                <a:pt x="139" y="19"/>
                              </a:cubicBezTo>
                              <a:cubicBezTo>
                                <a:pt x="136" y="20"/>
                                <a:pt x="134" y="21"/>
                                <a:pt x="132" y="24"/>
                              </a:cubicBez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54" name="任意多边形 131"/>
                        <p:cNvSpPr>
                          <a:spLocks noChangeArrowheads="1"/>
                        </p:cNvSpPr>
                        <p:nvPr/>
                      </p:nvSpPr>
                      <p:spPr bwMode="auto">
                        <a:xfrm>
                          <a:off x="3518043" y="2757507"/>
                          <a:ext cx="149625" cy="340971"/>
                        </a:xfrm>
                        <a:custGeom>
                          <a:avLst/>
                          <a:gdLst>
                            <a:gd name="T0" fmla="*/ 0 w 773460"/>
                            <a:gd name="T1" fmla="*/ 0 h 1540544"/>
                            <a:gd name="T2" fmla="*/ 0 w 773460"/>
                            <a:gd name="T3" fmla="*/ 0 h 1540544"/>
                            <a:gd name="T4" fmla="*/ 0 w 773460"/>
                            <a:gd name="T5" fmla="*/ 0 h 1540544"/>
                            <a:gd name="T6" fmla="*/ 0 w 773460"/>
                            <a:gd name="T7" fmla="*/ 0 h 1540544"/>
                            <a:gd name="T8" fmla="*/ 0 w 773460"/>
                            <a:gd name="T9" fmla="*/ 0 h 1540544"/>
                            <a:gd name="T10" fmla="*/ 0 w 773460"/>
                            <a:gd name="T11" fmla="*/ 0 h 1540544"/>
                            <a:gd name="T12" fmla="*/ 0 w 773460"/>
                            <a:gd name="T13" fmla="*/ 0 h 1540544"/>
                            <a:gd name="T14" fmla="*/ 0 w 773460"/>
                            <a:gd name="T15" fmla="*/ 0 h 1540544"/>
                            <a:gd name="T16" fmla="*/ 0 w 773460"/>
                            <a:gd name="T17" fmla="*/ 0 h 1540544"/>
                            <a:gd name="T18" fmla="*/ 0 w 773460"/>
                            <a:gd name="T19" fmla="*/ 0 h 1540544"/>
                            <a:gd name="T20" fmla="*/ 0 w 773460"/>
                            <a:gd name="T21" fmla="*/ 0 h 1540544"/>
                            <a:gd name="T22" fmla="*/ 0 w 773460"/>
                            <a:gd name="T23" fmla="*/ 0 h 1540544"/>
                            <a:gd name="T24" fmla="*/ 0 w 773460"/>
                            <a:gd name="T25" fmla="*/ 0 h 1540544"/>
                            <a:gd name="T26" fmla="*/ 0 w 773460"/>
                            <a:gd name="T27" fmla="*/ 0 h 1540544"/>
                            <a:gd name="T28" fmla="*/ 0 w 773460"/>
                            <a:gd name="T29" fmla="*/ 0 h 1540544"/>
                            <a:gd name="T30" fmla="*/ 0 w 773460"/>
                            <a:gd name="T31" fmla="*/ 0 h 1540544"/>
                            <a:gd name="T32" fmla="*/ 0 w 773460"/>
                            <a:gd name="T33" fmla="*/ 0 h 1540544"/>
                            <a:gd name="T34" fmla="*/ 0 w 773460"/>
                            <a:gd name="T35" fmla="*/ 0 h 1540544"/>
                            <a:gd name="T36" fmla="*/ 0 w 773460"/>
                            <a:gd name="T37" fmla="*/ 0 h 1540544"/>
                            <a:gd name="T38" fmla="*/ 0 w 773460"/>
                            <a:gd name="T39" fmla="*/ 0 h 1540544"/>
                            <a:gd name="T40" fmla="*/ 0 w 773460"/>
                            <a:gd name="T41" fmla="*/ 0 h 1540544"/>
                            <a:gd name="T42" fmla="*/ 0 w 773460"/>
                            <a:gd name="T43" fmla="*/ 0 h 1540544"/>
                            <a:gd name="T44" fmla="*/ 0 w 773460"/>
                            <a:gd name="T45" fmla="*/ 0 h 1540544"/>
                            <a:gd name="T46" fmla="*/ 0 w 773460"/>
                            <a:gd name="T47" fmla="*/ 0 h 1540544"/>
                            <a:gd name="T48" fmla="*/ 0 w 773460"/>
                            <a:gd name="T49" fmla="*/ 0 h 1540544"/>
                            <a:gd name="T50" fmla="*/ 0 w 773460"/>
                            <a:gd name="T51" fmla="*/ 0 h 1540544"/>
                            <a:gd name="T52" fmla="*/ 0 w 773460"/>
                            <a:gd name="T53" fmla="*/ 0 h 1540544"/>
                            <a:gd name="T54" fmla="*/ 0 w 773460"/>
                            <a:gd name="T55" fmla="*/ 0 h 1540544"/>
                            <a:gd name="T56" fmla="*/ 0 w 773460"/>
                            <a:gd name="T57" fmla="*/ 0 h 1540544"/>
                            <a:gd name="T58" fmla="*/ 0 w 773460"/>
                            <a:gd name="T59" fmla="*/ 0 h 1540544"/>
                            <a:gd name="T60" fmla="*/ 0 w 773460"/>
                            <a:gd name="T61" fmla="*/ 0 h 1540544"/>
                            <a:gd name="T62" fmla="*/ 0 w 773460"/>
                            <a:gd name="T63" fmla="*/ 0 h 1540544"/>
                            <a:gd name="T64" fmla="*/ 0 w 773460"/>
                            <a:gd name="T65" fmla="*/ 0 h 1540544"/>
                            <a:gd name="T66" fmla="*/ 0 w 773460"/>
                            <a:gd name="T67" fmla="*/ 0 h 1540544"/>
                            <a:gd name="T68" fmla="*/ 0 w 773460"/>
                            <a:gd name="T69" fmla="*/ 0 h 15405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73460"/>
                            <a:gd name="T106" fmla="*/ 0 h 1540544"/>
                            <a:gd name="T107" fmla="*/ 773460 w 773460"/>
                            <a:gd name="T108" fmla="*/ 1540544 h 15405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73460" h="1540544">
                              <a:moveTo>
                                <a:pt x="624373" y="65939"/>
                              </a:moveTo>
                              <a:cubicBezTo>
                                <a:pt x="580413" y="0"/>
                                <a:pt x="610951" y="13427"/>
                                <a:pt x="533264" y="24526"/>
                              </a:cubicBezTo>
                              <a:cubicBezTo>
                                <a:pt x="527742" y="57656"/>
                                <a:pt x="528756" y="92568"/>
                                <a:pt x="516699" y="123917"/>
                              </a:cubicBezTo>
                              <a:cubicBezTo>
                                <a:pt x="513565" y="132066"/>
                                <a:pt x="500480" y="130872"/>
                                <a:pt x="491851" y="132200"/>
                              </a:cubicBezTo>
                              <a:cubicBezTo>
                                <a:pt x="464427" y="136419"/>
                                <a:pt x="436634" y="137722"/>
                                <a:pt x="409025" y="140483"/>
                              </a:cubicBezTo>
                              <a:cubicBezTo>
                                <a:pt x="387437" y="162071"/>
                                <a:pt x="364744" y="179350"/>
                                <a:pt x="351047" y="206743"/>
                              </a:cubicBezTo>
                              <a:cubicBezTo>
                                <a:pt x="340300" y="228236"/>
                                <a:pt x="338723" y="260078"/>
                                <a:pt x="334481" y="281287"/>
                              </a:cubicBezTo>
                              <a:cubicBezTo>
                                <a:pt x="332249" y="292449"/>
                                <a:pt x="332513" y="304946"/>
                                <a:pt x="326199" y="314417"/>
                              </a:cubicBezTo>
                              <a:cubicBezTo>
                                <a:pt x="320677" y="322700"/>
                                <a:pt x="309634" y="325461"/>
                                <a:pt x="301351" y="330983"/>
                              </a:cubicBezTo>
                              <a:cubicBezTo>
                                <a:pt x="295829" y="339265"/>
                                <a:pt x="293227" y="350554"/>
                                <a:pt x="284786" y="355830"/>
                              </a:cubicBezTo>
                              <a:cubicBezTo>
                                <a:pt x="269979" y="365085"/>
                                <a:pt x="235090" y="372396"/>
                                <a:pt x="235090" y="372396"/>
                              </a:cubicBezTo>
                              <a:cubicBezTo>
                                <a:pt x="229568" y="380678"/>
                                <a:pt x="224743" y="389470"/>
                                <a:pt x="218525" y="397243"/>
                              </a:cubicBezTo>
                              <a:cubicBezTo>
                                <a:pt x="213647" y="403341"/>
                                <a:pt x="205978" y="407113"/>
                                <a:pt x="201960" y="413809"/>
                              </a:cubicBezTo>
                              <a:cubicBezTo>
                                <a:pt x="197468" y="421295"/>
                                <a:pt x="196076" y="430262"/>
                                <a:pt x="193677" y="438656"/>
                              </a:cubicBezTo>
                              <a:cubicBezTo>
                                <a:pt x="176673" y="498166"/>
                                <a:pt x="194189" y="444892"/>
                                <a:pt x="177112" y="513200"/>
                              </a:cubicBezTo>
                              <a:cubicBezTo>
                                <a:pt x="172237" y="532699"/>
                                <a:pt x="170172" y="553533"/>
                                <a:pt x="160547" y="571178"/>
                              </a:cubicBezTo>
                              <a:cubicBezTo>
                                <a:pt x="153068" y="584889"/>
                                <a:pt x="137580" y="592451"/>
                                <a:pt x="127416" y="604309"/>
                              </a:cubicBezTo>
                              <a:cubicBezTo>
                                <a:pt x="85531" y="653175"/>
                                <a:pt x="131959" y="605018"/>
                                <a:pt x="102568" y="654004"/>
                              </a:cubicBezTo>
                              <a:cubicBezTo>
                                <a:pt x="98550" y="660700"/>
                                <a:pt x="91932" y="665488"/>
                                <a:pt x="86003" y="670570"/>
                              </a:cubicBezTo>
                              <a:cubicBezTo>
                                <a:pt x="72581" y="682075"/>
                                <a:pt x="58394" y="692657"/>
                                <a:pt x="44590" y="703700"/>
                              </a:cubicBezTo>
                              <a:cubicBezTo>
                                <a:pt x="39068" y="714743"/>
                                <a:pt x="35929" y="727345"/>
                                <a:pt x="28025" y="736830"/>
                              </a:cubicBezTo>
                              <a:cubicBezTo>
                                <a:pt x="21652" y="744477"/>
                                <a:pt x="3886" y="743467"/>
                                <a:pt x="3177" y="753396"/>
                              </a:cubicBezTo>
                              <a:cubicBezTo>
                                <a:pt x="0" y="797870"/>
                                <a:pt x="14625" y="837437"/>
                                <a:pt x="28025" y="877635"/>
                              </a:cubicBezTo>
                              <a:cubicBezTo>
                                <a:pt x="17671" y="981167"/>
                                <a:pt x="11443" y="985231"/>
                                <a:pt x="36307" y="1109548"/>
                              </a:cubicBezTo>
                              <a:cubicBezTo>
                                <a:pt x="37839" y="1117205"/>
                                <a:pt x="45888" y="1122621"/>
                                <a:pt x="52873" y="1126113"/>
                              </a:cubicBezTo>
                              <a:cubicBezTo>
                                <a:pt x="63054" y="1131204"/>
                                <a:pt x="74960" y="1131635"/>
                                <a:pt x="86003" y="1134396"/>
                              </a:cubicBezTo>
                              <a:cubicBezTo>
                                <a:pt x="88764" y="1142678"/>
                                <a:pt x="88113" y="1153070"/>
                                <a:pt x="94286" y="1159243"/>
                              </a:cubicBezTo>
                              <a:cubicBezTo>
                                <a:pt x="100460" y="1165416"/>
                                <a:pt x="111325" y="1163621"/>
                                <a:pt x="119134" y="1167526"/>
                              </a:cubicBezTo>
                              <a:cubicBezTo>
                                <a:pt x="128037" y="1171978"/>
                                <a:pt x="135699" y="1178569"/>
                                <a:pt x="143981" y="1184091"/>
                              </a:cubicBezTo>
                              <a:cubicBezTo>
                                <a:pt x="149503" y="1200656"/>
                                <a:pt x="156312" y="1216847"/>
                                <a:pt x="160547" y="1233787"/>
                              </a:cubicBezTo>
                              <a:cubicBezTo>
                                <a:pt x="163308" y="1244830"/>
                                <a:pt x="162515" y="1257446"/>
                                <a:pt x="168829" y="1266917"/>
                              </a:cubicBezTo>
                              <a:cubicBezTo>
                                <a:pt x="179658" y="1283161"/>
                                <a:pt x="196438" y="1294526"/>
                                <a:pt x="210242" y="1308330"/>
                              </a:cubicBezTo>
                              <a:cubicBezTo>
                                <a:pt x="225981" y="1324069"/>
                                <a:pt x="254503" y="1313228"/>
                                <a:pt x="276503" y="1316613"/>
                              </a:cubicBezTo>
                              <a:cubicBezTo>
                                <a:pt x="290417" y="1318754"/>
                                <a:pt x="304112" y="1322135"/>
                                <a:pt x="317916" y="1324896"/>
                              </a:cubicBezTo>
                              <a:cubicBezTo>
                                <a:pt x="320677" y="1335939"/>
                                <a:pt x="323967" y="1346864"/>
                                <a:pt x="326199" y="1358026"/>
                              </a:cubicBezTo>
                              <a:cubicBezTo>
                                <a:pt x="329492" y="1374494"/>
                                <a:pt x="330838" y="1391328"/>
                                <a:pt x="334481" y="1407722"/>
                              </a:cubicBezTo>
                              <a:cubicBezTo>
                                <a:pt x="336375" y="1416245"/>
                                <a:pt x="340646" y="1424100"/>
                                <a:pt x="342764" y="1432570"/>
                              </a:cubicBezTo>
                              <a:cubicBezTo>
                                <a:pt x="348938" y="1457264"/>
                                <a:pt x="351843" y="1482785"/>
                                <a:pt x="359329" y="1507113"/>
                              </a:cubicBezTo>
                              <a:cubicBezTo>
                                <a:pt x="362960" y="1518914"/>
                                <a:pt x="370372" y="1529200"/>
                                <a:pt x="375894" y="1540243"/>
                              </a:cubicBezTo>
                              <a:cubicBezTo>
                                <a:pt x="409650" y="1506489"/>
                                <a:pt x="372101" y="1540544"/>
                                <a:pt x="425590" y="1507113"/>
                              </a:cubicBezTo>
                              <a:cubicBezTo>
                                <a:pt x="437296" y="1499797"/>
                                <a:pt x="447677" y="1490548"/>
                                <a:pt x="458720" y="1482265"/>
                              </a:cubicBezTo>
                              <a:cubicBezTo>
                                <a:pt x="468975" y="1430991"/>
                                <a:pt x="470553" y="1450713"/>
                                <a:pt x="458720" y="1399439"/>
                              </a:cubicBezTo>
                              <a:cubicBezTo>
                                <a:pt x="453601" y="1377255"/>
                                <a:pt x="442155" y="1333178"/>
                                <a:pt x="442155" y="1333178"/>
                              </a:cubicBezTo>
                              <a:cubicBezTo>
                                <a:pt x="444916" y="1300048"/>
                                <a:pt x="446315" y="1266775"/>
                                <a:pt x="450438" y="1233787"/>
                              </a:cubicBezTo>
                              <a:cubicBezTo>
                                <a:pt x="451850" y="1222491"/>
                                <a:pt x="453629" y="1210838"/>
                                <a:pt x="458720" y="1200656"/>
                              </a:cubicBezTo>
                              <a:cubicBezTo>
                                <a:pt x="462212" y="1193671"/>
                                <a:pt x="468301" y="1187583"/>
                                <a:pt x="475286" y="1184091"/>
                              </a:cubicBezTo>
                              <a:cubicBezTo>
                                <a:pt x="485467" y="1179000"/>
                                <a:pt x="497373" y="1178570"/>
                                <a:pt x="508416" y="1175809"/>
                              </a:cubicBezTo>
                              <a:cubicBezTo>
                                <a:pt x="511177" y="1164765"/>
                                <a:pt x="509588" y="1151567"/>
                                <a:pt x="516699" y="1142678"/>
                              </a:cubicBezTo>
                              <a:cubicBezTo>
                                <a:pt x="522153" y="1135861"/>
                                <a:pt x="534061" y="1138888"/>
                                <a:pt x="541547" y="1134396"/>
                              </a:cubicBezTo>
                              <a:cubicBezTo>
                                <a:pt x="548243" y="1130378"/>
                                <a:pt x="552590" y="1123352"/>
                                <a:pt x="558112" y="1117830"/>
                              </a:cubicBezTo>
                              <a:cubicBezTo>
                                <a:pt x="583443" y="1041833"/>
                                <a:pt x="539354" y="1158392"/>
                                <a:pt x="599525" y="1068135"/>
                              </a:cubicBezTo>
                              <a:cubicBezTo>
                                <a:pt x="609211" y="1053606"/>
                                <a:pt x="610568" y="1035004"/>
                                <a:pt x="616090" y="1018439"/>
                              </a:cubicBezTo>
                              <a:cubicBezTo>
                                <a:pt x="627520" y="984149"/>
                                <a:pt x="619531" y="1000854"/>
                                <a:pt x="640938" y="968743"/>
                              </a:cubicBezTo>
                              <a:cubicBezTo>
                                <a:pt x="643699" y="954939"/>
                                <a:pt x="647079" y="941244"/>
                                <a:pt x="649220" y="927330"/>
                              </a:cubicBezTo>
                              <a:cubicBezTo>
                                <a:pt x="652605" y="905330"/>
                                <a:pt x="653521" y="882969"/>
                                <a:pt x="657503" y="861070"/>
                              </a:cubicBezTo>
                              <a:cubicBezTo>
                                <a:pt x="659065" y="852480"/>
                                <a:pt x="663669" y="844692"/>
                                <a:pt x="665786" y="836222"/>
                              </a:cubicBezTo>
                              <a:cubicBezTo>
                                <a:pt x="669200" y="822565"/>
                                <a:pt x="669616" y="808164"/>
                                <a:pt x="674068" y="794809"/>
                              </a:cubicBezTo>
                              <a:cubicBezTo>
                                <a:pt x="677973" y="783095"/>
                                <a:pt x="685112" y="772722"/>
                                <a:pt x="690634" y="761678"/>
                              </a:cubicBezTo>
                              <a:cubicBezTo>
                                <a:pt x="718954" y="648389"/>
                                <a:pt x="689822" y="774679"/>
                                <a:pt x="707199" y="496635"/>
                              </a:cubicBezTo>
                              <a:cubicBezTo>
                                <a:pt x="707523" y="491450"/>
                                <a:pt x="719608" y="446373"/>
                                <a:pt x="723764" y="438656"/>
                              </a:cubicBezTo>
                              <a:cubicBezTo>
                                <a:pt x="739029" y="410308"/>
                                <a:pt x="773460" y="355830"/>
                                <a:pt x="773460" y="355830"/>
                              </a:cubicBezTo>
                              <a:cubicBezTo>
                                <a:pt x="770699" y="342026"/>
                                <a:pt x="770895" y="327281"/>
                                <a:pt x="765177" y="314417"/>
                              </a:cubicBezTo>
                              <a:cubicBezTo>
                                <a:pt x="759570" y="301803"/>
                                <a:pt x="747986" y="292773"/>
                                <a:pt x="740329" y="281287"/>
                              </a:cubicBezTo>
                              <a:cubicBezTo>
                                <a:pt x="731399" y="267892"/>
                                <a:pt x="723764" y="253678"/>
                                <a:pt x="715481" y="239874"/>
                              </a:cubicBezTo>
                              <a:cubicBezTo>
                                <a:pt x="711331" y="219124"/>
                                <a:pt x="698638" y="186384"/>
                                <a:pt x="715481" y="165330"/>
                              </a:cubicBezTo>
                              <a:cubicBezTo>
                                <a:pt x="720935" y="158512"/>
                                <a:pt x="732046" y="159809"/>
                                <a:pt x="740329" y="157048"/>
                              </a:cubicBezTo>
                              <a:cubicBezTo>
                                <a:pt x="745851" y="146004"/>
                                <a:pt x="755947" y="136228"/>
                                <a:pt x="756894" y="123917"/>
                              </a:cubicBezTo>
                              <a:cubicBezTo>
                                <a:pt x="766200" y="2949"/>
                                <a:pt x="735538" y="51989"/>
                                <a:pt x="624373" y="74222"/>
                              </a:cubicBezTo>
                              <a:cubicBezTo>
                                <a:pt x="618851" y="65939"/>
                                <a:pt x="611302" y="58695"/>
                                <a:pt x="607807" y="49374"/>
                              </a:cubicBezTo>
                              <a:cubicBezTo>
                                <a:pt x="602864" y="36193"/>
                                <a:pt x="609479" y="17916"/>
                                <a:pt x="599525" y="7961"/>
                              </a:cubicBezTo>
                              <a:cubicBezTo>
                                <a:pt x="593352" y="1787"/>
                                <a:pt x="574677" y="16243"/>
                                <a:pt x="574677" y="16243"/>
                              </a:cubicBezTo>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55" name="任意多边形 132"/>
                        <p:cNvSpPr>
                          <a:spLocks noChangeArrowheads="1"/>
                        </p:cNvSpPr>
                        <p:nvPr/>
                      </p:nvSpPr>
                      <p:spPr bwMode="auto">
                        <a:xfrm>
                          <a:off x="3097798" y="1800453"/>
                          <a:ext cx="488592" cy="427010"/>
                        </a:xfrm>
                        <a:custGeom>
                          <a:avLst/>
                          <a:gdLst>
                            <a:gd name="T0" fmla="*/ 0 w 2506143"/>
                            <a:gd name="T1" fmla="*/ 0 h 1938867"/>
                            <a:gd name="T2" fmla="*/ 0 w 2506143"/>
                            <a:gd name="T3" fmla="*/ 0 h 1938867"/>
                            <a:gd name="T4" fmla="*/ 0 w 2506143"/>
                            <a:gd name="T5" fmla="*/ 0 h 1938867"/>
                            <a:gd name="T6" fmla="*/ 0 w 2506143"/>
                            <a:gd name="T7" fmla="*/ 0 h 1938867"/>
                            <a:gd name="T8" fmla="*/ 0 w 2506143"/>
                            <a:gd name="T9" fmla="*/ 0 h 1938867"/>
                            <a:gd name="T10" fmla="*/ 0 w 2506143"/>
                            <a:gd name="T11" fmla="*/ 0 h 1938867"/>
                            <a:gd name="T12" fmla="*/ 0 w 2506143"/>
                            <a:gd name="T13" fmla="*/ 0 h 1938867"/>
                            <a:gd name="T14" fmla="*/ 0 w 2506143"/>
                            <a:gd name="T15" fmla="*/ 0 h 1938867"/>
                            <a:gd name="T16" fmla="*/ 0 w 2506143"/>
                            <a:gd name="T17" fmla="*/ 0 h 1938867"/>
                            <a:gd name="T18" fmla="*/ 0 w 2506143"/>
                            <a:gd name="T19" fmla="*/ 0 h 1938867"/>
                            <a:gd name="T20" fmla="*/ 0 w 2506143"/>
                            <a:gd name="T21" fmla="*/ 0 h 1938867"/>
                            <a:gd name="T22" fmla="*/ 0 w 2506143"/>
                            <a:gd name="T23" fmla="*/ 0 h 1938867"/>
                            <a:gd name="T24" fmla="*/ 0 w 2506143"/>
                            <a:gd name="T25" fmla="*/ 0 h 1938867"/>
                            <a:gd name="T26" fmla="*/ 0 w 2506143"/>
                            <a:gd name="T27" fmla="*/ 0 h 1938867"/>
                            <a:gd name="T28" fmla="*/ 0 w 2506143"/>
                            <a:gd name="T29" fmla="*/ 0 h 1938867"/>
                            <a:gd name="T30" fmla="*/ 0 w 2506143"/>
                            <a:gd name="T31" fmla="*/ 0 h 1938867"/>
                            <a:gd name="T32" fmla="*/ 0 w 2506143"/>
                            <a:gd name="T33" fmla="*/ 0 h 1938867"/>
                            <a:gd name="T34" fmla="*/ 0 w 2506143"/>
                            <a:gd name="T35" fmla="*/ 0 h 1938867"/>
                            <a:gd name="T36" fmla="*/ 0 w 2506143"/>
                            <a:gd name="T37" fmla="*/ 0 h 1938867"/>
                            <a:gd name="T38" fmla="*/ 0 w 2506143"/>
                            <a:gd name="T39" fmla="*/ 0 h 1938867"/>
                            <a:gd name="T40" fmla="*/ 0 w 2506143"/>
                            <a:gd name="T41" fmla="*/ 0 h 1938867"/>
                            <a:gd name="T42" fmla="*/ 0 w 2506143"/>
                            <a:gd name="T43" fmla="*/ 0 h 1938867"/>
                            <a:gd name="T44" fmla="*/ 0 w 2506143"/>
                            <a:gd name="T45" fmla="*/ 0 h 1938867"/>
                            <a:gd name="T46" fmla="*/ 0 w 2506143"/>
                            <a:gd name="T47" fmla="*/ 0 h 1938867"/>
                            <a:gd name="T48" fmla="*/ 0 w 2506143"/>
                            <a:gd name="T49" fmla="*/ 0 h 1938867"/>
                            <a:gd name="T50" fmla="*/ 0 w 2506143"/>
                            <a:gd name="T51" fmla="*/ 0 h 1938867"/>
                            <a:gd name="T52" fmla="*/ 0 w 2506143"/>
                            <a:gd name="T53" fmla="*/ 0 h 1938867"/>
                            <a:gd name="T54" fmla="*/ 0 w 2506143"/>
                            <a:gd name="T55" fmla="*/ 0 h 1938867"/>
                            <a:gd name="T56" fmla="*/ 0 w 2506143"/>
                            <a:gd name="T57" fmla="*/ 0 h 1938867"/>
                            <a:gd name="T58" fmla="*/ 0 w 2506143"/>
                            <a:gd name="T59" fmla="*/ 0 h 1938867"/>
                            <a:gd name="T60" fmla="*/ 0 w 2506143"/>
                            <a:gd name="T61" fmla="*/ 0 h 1938867"/>
                            <a:gd name="T62" fmla="*/ 0 w 2506143"/>
                            <a:gd name="T63" fmla="*/ 0 h 1938867"/>
                            <a:gd name="T64" fmla="*/ 0 w 2506143"/>
                            <a:gd name="T65" fmla="*/ 0 h 1938867"/>
                            <a:gd name="T66" fmla="*/ 0 w 2506143"/>
                            <a:gd name="T67" fmla="*/ 0 h 1938867"/>
                            <a:gd name="T68" fmla="*/ 0 w 2506143"/>
                            <a:gd name="T69" fmla="*/ 0 h 1938867"/>
                            <a:gd name="T70" fmla="*/ 0 w 2506143"/>
                            <a:gd name="T71" fmla="*/ 0 h 1938867"/>
                            <a:gd name="T72" fmla="*/ 0 w 2506143"/>
                            <a:gd name="T73" fmla="*/ 0 h 1938867"/>
                            <a:gd name="T74" fmla="*/ 0 w 2506143"/>
                            <a:gd name="T75" fmla="*/ 0 h 1938867"/>
                            <a:gd name="T76" fmla="*/ 0 w 2506143"/>
                            <a:gd name="T77" fmla="*/ 0 h 1938867"/>
                            <a:gd name="T78" fmla="*/ 0 w 2506143"/>
                            <a:gd name="T79" fmla="*/ 0 h 1938867"/>
                            <a:gd name="T80" fmla="*/ 0 w 2506143"/>
                            <a:gd name="T81" fmla="*/ 0 h 1938867"/>
                            <a:gd name="T82" fmla="*/ 0 w 2506143"/>
                            <a:gd name="T83" fmla="*/ 0 h 1938867"/>
                            <a:gd name="T84" fmla="*/ 0 w 2506143"/>
                            <a:gd name="T85" fmla="*/ 0 h 1938867"/>
                            <a:gd name="T86" fmla="*/ 0 w 2506143"/>
                            <a:gd name="T87" fmla="*/ 0 h 1938867"/>
                            <a:gd name="T88" fmla="*/ 0 w 2506143"/>
                            <a:gd name="T89" fmla="*/ 0 h 1938867"/>
                            <a:gd name="T90" fmla="*/ 0 w 2506143"/>
                            <a:gd name="T91" fmla="*/ 0 h 1938867"/>
                            <a:gd name="T92" fmla="*/ 0 w 2506143"/>
                            <a:gd name="T93" fmla="*/ 0 h 1938867"/>
                            <a:gd name="T94" fmla="*/ 0 w 2506143"/>
                            <a:gd name="T95" fmla="*/ 0 h 1938867"/>
                            <a:gd name="T96" fmla="*/ 0 w 2506143"/>
                            <a:gd name="T97" fmla="*/ 0 h 1938867"/>
                            <a:gd name="T98" fmla="*/ 0 w 2506143"/>
                            <a:gd name="T99" fmla="*/ 0 h 1938867"/>
                            <a:gd name="T100" fmla="*/ 0 w 2506143"/>
                            <a:gd name="T101" fmla="*/ 0 h 1938867"/>
                            <a:gd name="T102" fmla="*/ 0 w 2506143"/>
                            <a:gd name="T103" fmla="*/ 0 h 1938867"/>
                            <a:gd name="T104" fmla="*/ 0 w 2506143"/>
                            <a:gd name="T105" fmla="*/ 0 h 1938867"/>
                            <a:gd name="T106" fmla="*/ 0 w 2506143"/>
                            <a:gd name="T107" fmla="*/ 0 h 1938867"/>
                            <a:gd name="T108" fmla="*/ 0 w 2506143"/>
                            <a:gd name="T109" fmla="*/ 0 h 1938867"/>
                            <a:gd name="T110" fmla="*/ 0 w 2506143"/>
                            <a:gd name="T111" fmla="*/ 0 h 1938867"/>
                            <a:gd name="T112" fmla="*/ 0 w 2506143"/>
                            <a:gd name="T113" fmla="*/ 0 h 1938867"/>
                            <a:gd name="T114" fmla="*/ 0 w 2506143"/>
                            <a:gd name="T115" fmla="*/ 0 h 1938867"/>
                            <a:gd name="T116" fmla="*/ 0 w 2506143"/>
                            <a:gd name="T117" fmla="*/ 0 h 1938867"/>
                            <a:gd name="T118" fmla="*/ 0 w 2506143"/>
                            <a:gd name="T119" fmla="*/ 0 h 193886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06143"/>
                            <a:gd name="T181" fmla="*/ 0 h 1938867"/>
                            <a:gd name="T182" fmla="*/ 2506143 w 2506143"/>
                            <a:gd name="T183" fmla="*/ 1938867 h 193886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06143" h="1938867">
                              <a:moveTo>
                                <a:pt x="1254672" y="6569"/>
                              </a:moveTo>
                              <a:cubicBezTo>
                                <a:pt x="1241965" y="14194"/>
                                <a:pt x="1205746" y="38296"/>
                                <a:pt x="1188983" y="39414"/>
                              </a:cubicBezTo>
                              <a:cubicBezTo>
                                <a:pt x="1167026" y="40878"/>
                                <a:pt x="1145190" y="35035"/>
                                <a:pt x="1123293" y="32845"/>
                              </a:cubicBezTo>
                              <a:cubicBezTo>
                                <a:pt x="1078317" y="2861"/>
                                <a:pt x="1096726" y="1715"/>
                                <a:pt x="1051034" y="13138"/>
                              </a:cubicBezTo>
                              <a:cubicBezTo>
                                <a:pt x="1044317" y="14817"/>
                                <a:pt x="1037897" y="17517"/>
                                <a:pt x="1031328" y="19707"/>
                              </a:cubicBezTo>
                              <a:cubicBezTo>
                                <a:pt x="1029138" y="26276"/>
                                <a:pt x="1028194" y="33402"/>
                                <a:pt x="1024759" y="39414"/>
                              </a:cubicBezTo>
                              <a:cubicBezTo>
                                <a:pt x="1019327" y="48920"/>
                                <a:pt x="1009499" y="55685"/>
                                <a:pt x="1005052" y="65690"/>
                              </a:cubicBezTo>
                              <a:cubicBezTo>
                                <a:pt x="1000517" y="75893"/>
                                <a:pt x="1001767" y="87864"/>
                                <a:pt x="998483" y="98535"/>
                              </a:cubicBezTo>
                              <a:cubicBezTo>
                                <a:pt x="992981" y="116416"/>
                                <a:pt x="988401" y="135044"/>
                                <a:pt x="978776" y="151086"/>
                              </a:cubicBezTo>
                              <a:cubicBezTo>
                                <a:pt x="966691" y="171228"/>
                                <a:pt x="917015" y="169481"/>
                                <a:pt x="906517" y="170793"/>
                              </a:cubicBezTo>
                              <a:cubicBezTo>
                                <a:pt x="902138" y="177362"/>
                                <a:pt x="898433" y="184435"/>
                                <a:pt x="893379" y="190500"/>
                              </a:cubicBezTo>
                              <a:cubicBezTo>
                                <a:pt x="887432" y="197637"/>
                                <a:pt x="878184" y="202086"/>
                                <a:pt x="873672" y="210207"/>
                              </a:cubicBezTo>
                              <a:cubicBezTo>
                                <a:pt x="857552" y="239223"/>
                                <a:pt x="841750" y="349809"/>
                                <a:pt x="840828" y="354724"/>
                              </a:cubicBezTo>
                              <a:cubicBezTo>
                                <a:pt x="834259" y="352534"/>
                                <a:pt x="826882" y="351996"/>
                                <a:pt x="821121" y="348155"/>
                              </a:cubicBezTo>
                              <a:cubicBezTo>
                                <a:pt x="799668" y="333853"/>
                                <a:pt x="799922" y="320386"/>
                                <a:pt x="781707" y="302172"/>
                              </a:cubicBezTo>
                              <a:cubicBezTo>
                                <a:pt x="776124" y="296590"/>
                                <a:pt x="768569" y="293414"/>
                                <a:pt x="762000" y="289035"/>
                              </a:cubicBezTo>
                              <a:cubicBezTo>
                                <a:pt x="759810" y="282466"/>
                                <a:pt x="761066" y="273353"/>
                                <a:pt x="755431" y="269328"/>
                              </a:cubicBezTo>
                              <a:cubicBezTo>
                                <a:pt x="744162" y="261279"/>
                                <a:pt x="716017" y="256190"/>
                                <a:pt x="716017" y="256190"/>
                              </a:cubicBezTo>
                              <a:cubicBezTo>
                                <a:pt x="709833" y="257736"/>
                                <a:pt x="677744" y="265044"/>
                                <a:pt x="670034" y="269328"/>
                              </a:cubicBezTo>
                              <a:cubicBezTo>
                                <a:pt x="620789" y="296687"/>
                                <a:pt x="640864" y="298010"/>
                                <a:pt x="584638" y="315310"/>
                              </a:cubicBezTo>
                              <a:cubicBezTo>
                                <a:pt x="571908" y="319227"/>
                                <a:pt x="558362" y="319689"/>
                                <a:pt x="545224" y="321879"/>
                              </a:cubicBezTo>
                              <a:cubicBezTo>
                                <a:pt x="486648" y="399981"/>
                                <a:pt x="564820" y="303911"/>
                                <a:pt x="499241" y="361293"/>
                              </a:cubicBezTo>
                              <a:cubicBezTo>
                                <a:pt x="488689" y="370526"/>
                                <a:pt x="481724" y="383190"/>
                                <a:pt x="472965" y="394138"/>
                              </a:cubicBezTo>
                              <a:cubicBezTo>
                                <a:pt x="470776" y="400707"/>
                                <a:pt x="471804" y="409519"/>
                                <a:pt x="466397" y="413845"/>
                              </a:cubicBezTo>
                              <a:cubicBezTo>
                                <a:pt x="459347" y="419485"/>
                                <a:pt x="448802" y="417934"/>
                                <a:pt x="440121" y="420414"/>
                              </a:cubicBezTo>
                              <a:cubicBezTo>
                                <a:pt x="433463" y="422316"/>
                                <a:pt x="426983" y="424793"/>
                                <a:pt x="420414" y="426983"/>
                              </a:cubicBezTo>
                              <a:cubicBezTo>
                                <a:pt x="398517" y="420414"/>
                                <a:pt x="373745" y="419957"/>
                                <a:pt x="354724" y="407276"/>
                              </a:cubicBezTo>
                              <a:cubicBezTo>
                                <a:pt x="342340" y="399020"/>
                                <a:pt x="339258" y="352895"/>
                                <a:pt x="335017" y="341586"/>
                              </a:cubicBezTo>
                              <a:cubicBezTo>
                                <a:pt x="332245" y="334194"/>
                                <a:pt x="325085" y="329093"/>
                                <a:pt x="321879" y="321879"/>
                              </a:cubicBezTo>
                              <a:cubicBezTo>
                                <a:pt x="316255" y="309224"/>
                                <a:pt x="314934" y="294852"/>
                                <a:pt x="308741" y="282466"/>
                              </a:cubicBezTo>
                              <a:cubicBezTo>
                                <a:pt x="304362" y="273707"/>
                                <a:pt x="299460" y="265191"/>
                                <a:pt x="295603" y="256190"/>
                              </a:cubicBezTo>
                              <a:cubicBezTo>
                                <a:pt x="291885" y="247514"/>
                                <a:pt x="286778" y="221129"/>
                                <a:pt x="275897" y="216776"/>
                              </a:cubicBezTo>
                              <a:cubicBezTo>
                                <a:pt x="259506" y="210220"/>
                                <a:pt x="240758" y="213109"/>
                                <a:pt x="223345" y="210207"/>
                              </a:cubicBezTo>
                              <a:cubicBezTo>
                                <a:pt x="214440" y="208723"/>
                                <a:pt x="205882" y="205596"/>
                                <a:pt x="197069" y="203638"/>
                              </a:cubicBezTo>
                              <a:cubicBezTo>
                                <a:pt x="149507" y="193069"/>
                                <a:pt x="179732" y="202238"/>
                                <a:pt x="144517" y="190500"/>
                              </a:cubicBezTo>
                              <a:cubicBezTo>
                                <a:pt x="102914" y="194879"/>
                                <a:pt x="59393" y="190409"/>
                                <a:pt x="19707" y="203638"/>
                              </a:cubicBezTo>
                              <a:cubicBezTo>
                                <a:pt x="8520" y="207367"/>
                                <a:pt x="8508" y="224852"/>
                                <a:pt x="6569" y="236483"/>
                              </a:cubicBezTo>
                              <a:cubicBezTo>
                                <a:pt x="1875" y="264644"/>
                                <a:pt x="2190" y="293414"/>
                                <a:pt x="0" y="321879"/>
                              </a:cubicBezTo>
                              <a:lnTo>
                                <a:pt x="13138" y="361293"/>
                              </a:lnTo>
                              <a:cubicBezTo>
                                <a:pt x="16669" y="371885"/>
                                <a:pt x="34868" y="366803"/>
                                <a:pt x="45983" y="367862"/>
                              </a:cubicBezTo>
                              <a:cubicBezTo>
                                <a:pt x="80928" y="371190"/>
                                <a:pt x="116052" y="372241"/>
                                <a:pt x="151086" y="374431"/>
                              </a:cubicBezTo>
                              <a:cubicBezTo>
                                <a:pt x="157655" y="376621"/>
                                <a:pt x="165897" y="376104"/>
                                <a:pt x="170793" y="381000"/>
                              </a:cubicBezTo>
                              <a:cubicBezTo>
                                <a:pt x="237468" y="447675"/>
                                <a:pt x="135467" y="374967"/>
                                <a:pt x="203638" y="420414"/>
                              </a:cubicBezTo>
                              <a:lnTo>
                                <a:pt x="216776" y="459828"/>
                              </a:lnTo>
                              <a:cubicBezTo>
                                <a:pt x="221769" y="474808"/>
                                <a:pt x="256190" y="486104"/>
                                <a:pt x="256190" y="486104"/>
                              </a:cubicBezTo>
                              <a:cubicBezTo>
                                <a:pt x="258380" y="492673"/>
                                <a:pt x="258326" y="500491"/>
                                <a:pt x="262759" y="505810"/>
                              </a:cubicBezTo>
                              <a:cubicBezTo>
                                <a:pt x="279624" y="526048"/>
                                <a:pt x="288103" y="524347"/>
                                <a:pt x="308741" y="532086"/>
                              </a:cubicBezTo>
                              <a:cubicBezTo>
                                <a:pt x="319782" y="536226"/>
                                <a:pt x="330146" y="542364"/>
                                <a:pt x="341586" y="545224"/>
                              </a:cubicBezTo>
                              <a:cubicBezTo>
                                <a:pt x="369870" y="552295"/>
                                <a:pt x="456880" y="557125"/>
                                <a:pt x="472965" y="558362"/>
                              </a:cubicBezTo>
                              <a:lnTo>
                                <a:pt x="512379" y="584638"/>
                              </a:lnTo>
                              <a:cubicBezTo>
                                <a:pt x="521669" y="590831"/>
                                <a:pt x="534530" y="587999"/>
                                <a:pt x="545224" y="591207"/>
                              </a:cubicBezTo>
                              <a:cubicBezTo>
                                <a:pt x="556518" y="594595"/>
                                <a:pt x="567121" y="599966"/>
                                <a:pt x="578069" y="604345"/>
                              </a:cubicBezTo>
                              <a:lnTo>
                                <a:pt x="591207" y="643759"/>
                              </a:lnTo>
                              <a:cubicBezTo>
                                <a:pt x="595586" y="656897"/>
                                <a:pt x="617763" y="651754"/>
                                <a:pt x="630621" y="656897"/>
                              </a:cubicBezTo>
                              <a:cubicBezTo>
                                <a:pt x="654074" y="666279"/>
                                <a:pt x="668268" y="670902"/>
                                <a:pt x="689741" y="683172"/>
                              </a:cubicBezTo>
                              <a:cubicBezTo>
                                <a:pt x="696596" y="687089"/>
                                <a:pt x="703024" y="691721"/>
                                <a:pt x="709448" y="696310"/>
                              </a:cubicBezTo>
                              <a:cubicBezTo>
                                <a:pt x="718357" y="702674"/>
                                <a:pt x="726153" y="710700"/>
                                <a:pt x="735724" y="716017"/>
                              </a:cubicBezTo>
                              <a:cubicBezTo>
                                <a:pt x="746032" y="721744"/>
                                <a:pt x="757621" y="724776"/>
                                <a:pt x="768569" y="729155"/>
                              </a:cubicBezTo>
                              <a:cubicBezTo>
                                <a:pt x="772948" y="735724"/>
                                <a:pt x="780590" y="741046"/>
                                <a:pt x="781707" y="748862"/>
                              </a:cubicBezTo>
                              <a:cubicBezTo>
                                <a:pt x="785799" y="777505"/>
                                <a:pt x="771653" y="774758"/>
                                <a:pt x="755431" y="788276"/>
                              </a:cubicBezTo>
                              <a:cubicBezTo>
                                <a:pt x="748294" y="794223"/>
                                <a:pt x="742293" y="801414"/>
                                <a:pt x="735724" y="807983"/>
                              </a:cubicBezTo>
                              <a:cubicBezTo>
                                <a:pt x="721986" y="849198"/>
                                <a:pt x="739729" y="805762"/>
                                <a:pt x="709448" y="847397"/>
                              </a:cubicBezTo>
                              <a:cubicBezTo>
                                <a:pt x="697298" y="864103"/>
                                <a:pt x="676603" y="899948"/>
                                <a:pt x="676603" y="899948"/>
                              </a:cubicBezTo>
                              <a:cubicBezTo>
                                <a:pt x="679836" y="906413"/>
                                <a:pt x="695142" y="939741"/>
                                <a:pt x="702879" y="945931"/>
                              </a:cubicBezTo>
                              <a:cubicBezTo>
                                <a:pt x="708286" y="950257"/>
                                <a:pt x="716017" y="950310"/>
                                <a:pt x="722586" y="952500"/>
                              </a:cubicBezTo>
                              <a:cubicBezTo>
                                <a:pt x="724776" y="959069"/>
                                <a:pt x="724649" y="966950"/>
                                <a:pt x="729155" y="972207"/>
                              </a:cubicBezTo>
                              <a:cubicBezTo>
                                <a:pt x="754953" y="1002305"/>
                                <a:pt x="760806" y="998244"/>
                                <a:pt x="794845" y="1005052"/>
                              </a:cubicBezTo>
                              <a:cubicBezTo>
                                <a:pt x="799224" y="1011621"/>
                                <a:pt x="800922" y="1021228"/>
                                <a:pt x="807983" y="1024759"/>
                              </a:cubicBezTo>
                              <a:cubicBezTo>
                                <a:pt x="819896" y="1030716"/>
                                <a:pt x="834395" y="1028439"/>
                                <a:pt x="847397" y="1031328"/>
                              </a:cubicBezTo>
                              <a:cubicBezTo>
                                <a:pt x="867793" y="1035861"/>
                                <a:pt x="869095" y="1039225"/>
                                <a:pt x="886810" y="1051035"/>
                              </a:cubicBezTo>
                              <a:cubicBezTo>
                                <a:pt x="889000" y="1057604"/>
                                <a:pt x="887745" y="1066717"/>
                                <a:pt x="893379" y="1070741"/>
                              </a:cubicBezTo>
                              <a:cubicBezTo>
                                <a:pt x="904648" y="1078790"/>
                                <a:pt x="932793" y="1083879"/>
                                <a:pt x="932793" y="1083879"/>
                              </a:cubicBezTo>
                              <a:cubicBezTo>
                                <a:pt x="937172" y="1090448"/>
                                <a:pt x="940348" y="1098003"/>
                                <a:pt x="945931" y="1103586"/>
                              </a:cubicBezTo>
                              <a:cubicBezTo>
                                <a:pt x="951514" y="1109169"/>
                                <a:pt x="961049" y="1110300"/>
                                <a:pt x="965638" y="1116724"/>
                              </a:cubicBezTo>
                              <a:cubicBezTo>
                                <a:pt x="979218" y="1135735"/>
                                <a:pt x="979972" y="1160921"/>
                                <a:pt x="985345" y="1182414"/>
                              </a:cubicBezTo>
                              <a:cubicBezTo>
                                <a:pt x="989211" y="1197879"/>
                                <a:pt x="988696" y="1215814"/>
                                <a:pt x="998483" y="1228397"/>
                              </a:cubicBezTo>
                              <a:cubicBezTo>
                                <a:pt x="1005722" y="1237705"/>
                                <a:pt x="1020380" y="1237156"/>
                                <a:pt x="1031328" y="1241535"/>
                              </a:cubicBezTo>
                              <a:cubicBezTo>
                                <a:pt x="1029138" y="1263431"/>
                                <a:pt x="1040319" y="1291664"/>
                                <a:pt x="1024759" y="1307224"/>
                              </a:cubicBezTo>
                              <a:cubicBezTo>
                                <a:pt x="1009198" y="1322784"/>
                                <a:pt x="980698" y="1309738"/>
                                <a:pt x="959069" y="1313793"/>
                              </a:cubicBezTo>
                              <a:cubicBezTo>
                                <a:pt x="945458" y="1316345"/>
                                <a:pt x="932793" y="1322552"/>
                                <a:pt x="919655" y="1326931"/>
                              </a:cubicBezTo>
                              <a:cubicBezTo>
                                <a:pt x="917465" y="1333500"/>
                                <a:pt x="916183" y="1340445"/>
                                <a:pt x="913086" y="1346638"/>
                              </a:cubicBezTo>
                              <a:cubicBezTo>
                                <a:pt x="909555" y="1353699"/>
                                <a:pt x="900927" y="1358511"/>
                                <a:pt x="899948" y="1366345"/>
                              </a:cubicBezTo>
                              <a:cubicBezTo>
                                <a:pt x="898563" y="1377424"/>
                                <a:pt x="900599" y="1389722"/>
                                <a:pt x="906517" y="1399190"/>
                              </a:cubicBezTo>
                              <a:cubicBezTo>
                                <a:pt x="909427" y="1403846"/>
                                <a:pt x="945087" y="1427093"/>
                                <a:pt x="952500" y="1432035"/>
                              </a:cubicBezTo>
                              <a:cubicBezTo>
                                <a:pt x="961892" y="1474299"/>
                                <a:pt x="950976" y="1489563"/>
                                <a:pt x="985345" y="1504293"/>
                              </a:cubicBezTo>
                              <a:cubicBezTo>
                                <a:pt x="993643" y="1507849"/>
                                <a:pt x="1002862" y="1508672"/>
                                <a:pt x="1011621" y="1510862"/>
                              </a:cubicBezTo>
                              <a:cubicBezTo>
                                <a:pt x="1016000" y="1519621"/>
                                <a:pt x="1019067" y="1529169"/>
                                <a:pt x="1024759" y="1537138"/>
                              </a:cubicBezTo>
                              <a:cubicBezTo>
                                <a:pt x="1030158" y="1544697"/>
                                <a:pt x="1040311" y="1548536"/>
                                <a:pt x="1044465" y="1556845"/>
                              </a:cubicBezTo>
                              <a:cubicBezTo>
                                <a:pt x="1049458" y="1566831"/>
                                <a:pt x="1042315" y="1582715"/>
                                <a:pt x="1051034" y="1589690"/>
                              </a:cubicBezTo>
                              <a:cubicBezTo>
                                <a:pt x="1067255" y="1602667"/>
                                <a:pt x="1090448" y="1602828"/>
                                <a:pt x="1110155" y="1609397"/>
                              </a:cubicBezTo>
                              <a:cubicBezTo>
                                <a:pt x="1148673" y="1622236"/>
                                <a:pt x="1122980" y="1615201"/>
                                <a:pt x="1188983" y="1622535"/>
                              </a:cubicBezTo>
                              <a:lnTo>
                                <a:pt x="1208690" y="1701362"/>
                              </a:lnTo>
                              <a:cubicBezTo>
                                <a:pt x="1210880" y="1710121"/>
                                <a:pt x="1206694" y="1724783"/>
                                <a:pt x="1215259" y="1727638"/>
                              </a:cubicBezTo>
                              <a:cubicBezTo>
                                <a:pt x="1221828" y="1729828"/>
                                <a:pt x="1228772" y="1731110"/>
                                <a:pt x="1234965" y="1734207"/>
                              </a:cubicBezTo>
                              <a:cubicBezTo>
                                <a:pt x="1261495" y="1747472"/>
                                <a:pt x="1271126" y="1760724"/>
                                <a:pt x="1300655" y="1767052"/>
                              </a:cubicBezTo>
                              <a:cubicBezTo>
                                <a:pt x="1320043" y="1771207"/>
                                <a:pt x="1340122" y="1771000"/>
                                <a:pt x="1359776" y="1773621"/>
                              </a:cubicBezTo>
                              <a:cubicBezTo>
                                <a:pt x="1456202" y="1786478"/>
                                <a:pt x="1353661" y="1773704"/>
                                <a:pt x="1425465" y="1786759"/>
                              </a:cubicBezTo>
                              <a:cubicBezTo>
                                <a:pt x="1440699" y="1789529"/>
                                <a:pt x="1456120" y="1791138"/>
                                <a:pt x="1471448" y="1793328"/>
                              </a:cubicBezTo>
                              <a:cubicBezTo>
                                <a:pt x="1524000" y="1810845"/>
                                <a:pt x="1458310" y="1793328"/>
                                <a:pt x="1510862" y="1793328"/>
                              </a:cubicBezTo>
                              <a:cubicBezTo>
                                <a:pt x="1530690" y="1793328"/>
                                <a:pt x="1550253" y="1797924"/>
                                <a:pt x="1569983" y="1799897"/>
                              </a:cubicBezTo>
                              <a:lnTo>
                                <a:pt x="1642241" y="1806466"/>
                              </a:lnTo>
                              <a:cubicBezTo>
                                <a:pt x="1651000" y="1810845"/>
                                <a:pt x="1660015" y="1814746"/>
                                <a:pt x="1668517" y="1819604"/>
                              </a:cubicBezTo>
                              <a:cubicBezTo>
                                <a:pt x="1675372" y="1823521"/>
                                <a:pt x="1680374" y="1831900"/>
                                <a:pt x="1688224" y="1832741"/>
                              </a:cubicBezTo>
                              <a:cubicBezTo>
                                <a:pt x="1742697" y="1838577"/>
                                <a:pt x="1797707" y="1837120"/>
                                <a:pt x="1852448" y="1839310"/>
                              </a:cubicBezTo>
                              <a:lnTo>
                                <a:pt x="1911569" y="1859017"/>
                              </a:lnTo>
                              <a:lnTo>
                                <a:pt x="1931276" y="1865586"/>
                              </a:lnTo>
                              <a:lnTo>
                                <a:pt x="1950983" y="1872155"/>
                              </a:lnTo>
                              <a:cubicBezTo>
                                <a:pt x="1953173" y="1878724"/>
                                <a:pt x="1954455" y="1885669"/>
                                <a:pt x="1957552" y="1891862"/>
                              </a:cubicBezTo>
                              <a:cubicBezTo>
                                <a:pt x="1961083" y="1898923"/>
                                <a:pt x="1965107" y="1905986"/>
                                <a:pt x="1970690" y="1911569"/>
                              </a:cubicBezTo>
                              <a:cubicBezTo>
                                <a:pt x="1983809" y="1924688"/>
                                <a:pt x="2007560" y="1931572"/>
                                <a:pt x="2023241" y="1937845"/>
                              </a:cubicBezTo>
                              <a:cubicBezTo>
                                <a:pt x="2041947" y="1936745"/>
                                <a:pt x="2123430" y="1938867"/>
                                <a:pt x="2161190" y="1924707"/>
                              </a:cubicBezTo>
                              <a:cubicBezTo>
                                <a:pt x="2170359" y="1921269"/>
                                <a:pt x="2178707" y="1915948"/>
                                <a:pt x="2187465" y="1911569"/>
                              </a:cubicBezTo>
                              <a:cubicBezTo>
                                <a:pt x="2189655" y="1905000"/>
                                <a:pt x="2189708" y="1897269"/>
                                <a:pt x="2194034" y="1891862"/>
                              </a:cubicBezTo>
                              <a:cubicBezTo>
                                <a:pt x="2203295" y="1880285"/>
                                <a:pt x="2220466" y="1876482"/>
                                <a:pt x="2233448" y="1872155"/>
                              </a:cubicBezTo>
                              <a:cubicBezTo>
                                <a:pt x="2237827" y="1865586"/>
                                <a:pt x="2248134" y="1860190"/>
                                <a:pt x="2246586" y="1852448"/>
                              </a:cubicBezTo>
                              <a:cubicBezTo>
                                <a:pt x="2243767" y="1838352"/>
                                <a:pt x="2197600" y="1833454"/>
                                <a:pt x="2194034" y="1832741"/>
                              </a:cubicBezTo>
                              <a:cubicBezTo>
                                <a:pt x="2191844" y="1823983"/>
                                <a:pt x="2188585" y="1815424"/>
                                <a:pt x="2187465" y="1806466"/>
                              </a:cubicBezTo>
                              <a:cubicBezTo>
                                <a:pt x="2184195" y="1780303"/>
                                <a:pt x="2186068" y="1753493"/>
                                <a:pt x="2180897" y="1727638"/>
                              </a:cubicBezTo>
                              <a:cubicBezTo>
                                <a:pt x="2179349" y="1719896"/>
                                <a:pt x="2172138" y="1714500"/>
                                <a:pt x="2167759" y="1707931"/>
                              </a:cubicBezTo>
                              <a:cubicBezTo>
                                <a:pt x="2172086" y="1694950"/>
                                <a:pt x="2175890" y="1677777"/>
                                <a:pt x="2187465" y="1668517"/>
                              </a:cubicBezTo>
                              <a:cubicBezTo>
                                <a:pt x="2192872" y="1664191"/>
                                <a:pt x="2200603" y="1664138"/>
                                <a:pt x="2207172" y="1661948"/>
                              </a:cubicBezTo>
                              <a:cubicBezTo>
                                <a:pt x="2213741" y="1655379"/>
                                <a:pt x="2218148" y="1645416"/>
                                <a:pt x="2226879" y="1642241"/>
                              </a:cubicBezTo>
                              <a:cubicBezTo>
                                <a:pt x="2243470" y="1636208"/>
                                <a:pt x="2262018" y="1638574"/>
                                <a:pt x="2279431" y="1635672"/>
                              </a:cubicBezTo>
                              <a:cubicBezTo>
                                <a:pt x="2328519" y="1627491"/>
                                <a:pt x="2284798" y="1631908"/>
                                <a:pt x="2325414" y="1622535"/>
                              </a:cubicBezTo>
                              <a:cubicBezTo>
                                <a:pt x="2347172" y="1617514"/>
                                <a:pt x="2369207" y="1613776"/>
                                <a:pt x="2391103" y="1609397"/>
                              </a:cubicBezTo>
                              <a:cubicBezTo>
                                <a:pt x="2399862" y="1605018"/>
                                <a:pt x="2408877" y="1601117"/>
                                <a:pt x="2417379" y="1596259"/>
                              </a:cubicBezTo>
                              <a:cubicBezTo>
                                <a:pt x="2482374" y="1559119"/>
                                <a:pt x="2383958" y="1609685"/>
                                <a:pt x="2463362" y="1569983"/>
                              </a:cubicBezTo>
                              <a:cubicBezTo>
                                <a:pt x="2479549" y="1505235"/>
                                <a:pt x="2468934" y="1552680"/>
                                <a:pt x="2483069" y="1425466"/>
                              </a:cubicBezTo>
                              <a:cubicBezTo>
                                <a:pt x="2484598" y="1411702"/>
                                <a:pt x="2491828" y="1399190"/>
                                <a:pt x="2496207" y="1386052"/>
                              </a:cubicBezTo>
                              <a:cubicBezTo>
                                <a:pt x="2491828" y="1359776"/>
                                <a:pt x="2506143" y="1320536"/>
                                <a:pt x="2483069" y="1307224"/>
                              </a:cubicBezTo>
                              <a:cubicBezTo>
                                <a:pt x="2437195" y="1280758"/>
                                <a:pt x="2377550" y="1296827"/>
                                <a:pt x="2325414" y="1287517"/>
                              </a:cubicBezTo>
                              <a:cubicBezTo>
                                <a:pt x="2315774" y="1285796"/>
                                <a:pt x="2307897" y="1278758"/>
                                <a:pt x="2299138" y="1274379"/>
                              </a:cubicBezTo>
                              <a:cubicBezTo>
                                <a:pt x="2296948" y="1267810"/>
                                <a:pt x="2295666" y="1260865"/>
                                <a:pt x="2292569" y="1254672"/>
                              </a:cubicBezTo>
                              <a:cubicBezTo>
                                <a:pt x="2289038" y="1247611"/>
                                <a:pt x="2282203" y="1242358"/>
                                <a:pt x="2279431" y="1234966"/>
                              </a:cubicBezTo>
                              <a:cubicBezTo>
                                <a:pt x="2275511" y="1224512"/>
                                <a:pt x="2276870" y="1212542"/>
                                <a:pt x="2272862" y="1202121"/>
                              </a:cubicBezTo>
                              <a:cubicBezTo>
                                <a:pt x="2265831" y="1183841"/>
                                <a:pt x="2265481" y="1154722"/>
                                <a:pt x="2246586" y="1149569"/>
                              </a:cubicBezTo>
                              <a:cubicBezTo>
                                <a:pt x="2222500" y="1143000"/>
                                <a:pt x="2198157" y="1137309"/>
                                <a:pt x="2174328" y="1129862"/>
                              </a:cubicBezTo>
                              <a:cubicBezTo>
                                <a:pt x="2163073" y="1126345"/>
                                <a:pt x="2152524" y="1120864"/>
                                <a:pt x="2141483" y="1116724"/>
                              </a:cubicBezTo>
                              <a:cubicBezTo>
                                <a:pt x="2135000" y="1114293"/>
                                <a:pt x="2128345" y="1112345"/>
                                <a:pt x="2121776" y="1110155"/>
                              </a:cubicBezTo>
                              <a:cubicBezTo>
                                <a:pt x="2115207" y="1105776"/>
                                <a:pt x="2109237" y="1100325"/>
                                <a:pt x="2102069" y="1097017"/>
                              </a:cubicBezTo>
                              <a:cubicBezTo>
                                <a:pt x="2080656" y="1087134"/>
                                <a:pt x="2036379" y="1070741"/>
                                <a:pt x="2036379" y="1070741"/>
                              </a:cubicBezTo>
                              <a:cubicBezTo>
                                <a:pt x="2022493" y="1049913"/>
                                <a:pt x="2017520" y="1045387"/>
                                <a:pt x="2010103" y="1018190"/>
                              </a:cubicBezTo>
                              <a:cubicBezTo>
                                <a:pt x="2006598" y="1005340"/>
                                <a:pt x="2008086" y="991293"/>
                                <a:pt x="2003534" y="978776"/>
                              </a:cubicBezTo>
                              <a:cubicBezTo>
                                <a:pt x="1999171" y="966777"/>
                                <a:pt x="1989538" y="957351"/>
                                <a:pt x="1983828" y="945931"/>
                              </a:cubicBezTo>
                              <a:cubicBezTo>
                                <a:pt x="1980731" y="939738"/>
                                <a:pt x="1979690" y="932707"/>
                                <a:pt x="1977259" y="926224"/>
                              </a:cubicBezTo>
                              <a:cubicBezTo>
                                <a:pt x="1973119" y="915183"/>
                                <a:pt x="1969768" y="903731"/>
                                <a:pt x="1964121" y="893379"/>
                              </a:cubicBezTo>
                              <a:cubicBezTo>
                                <a:pt x="1956560" y="879517"/>
                                <a:pt x="1937845" y="853966"/>
                                <a:pt x="1937845" y="853966"/>
                              </a:cubicBezTo>
                              <a:cubicBezTo>
                                <a:pt x="1935655" y="843018"/>
                                <a:pt x="1934484" y="831815"/>
                                <a:pt x="1931276" y="821121"/>
                              </a:cubicBezTo>
                              <a:cubicBezTo>
                                <a:pt x="1911686" y="755820"/>
                                <a:pt x="1923404" y="822480"/>
                                <a:pt x="1905000" y="748862"/>
                              </a:cubicBezTo>
                              <a:cubicBezTo>
                                <a:pt x="1901433" y="734595"/>
                                <a:pt x="1894127" y="700342"/>
                                <a:pt x="1885293" y="689741"/>
                              </a:cubicBezTo>
                              <a:cubicBezTo>
                                <a:pt x="1880860" y="684422"/>
                                <a:pt x="1871639" y="686535"/>
                                <a:pt x="1865586" y="683172"/>
                              </a:cubicBezTo>
                              <a:cubicBezTo>
                                <a:pt x="1851783" y="675504"/>
                                <a:pt x="1826172" y="656897"/>
                                <a:pt x="1826172" y="656897"/>
                              </a:cubicBezTo>
                              <a:cubicBezTo>
                                <a:pt x="1805352" y="625667"/>
                                <a:pt x="1815530" y="644680"/>
                                <a:pt x="1799897" y="597776"/>
                              </a:cubicBezTo>
                              <a:cubicBezTo>
                                <a:pt x="1796959" y="588963"/>
                                <a:pt x="1786759" y="584638"/>
                                <a:pt x="1780190" y="578069"/>
                              </a:cubicBezTo>
                              <a:cubicBezTo>
                                <a:pt x="1778000" y="571500"/>
                                <a:pt x="1774860" y="565175"/>
                                <a:pt x="1773621" y="558362"/>
                              </a:cubicBezTo>
                              <a:cubicBezTo>
                                <a:pt x="1770463" y="540993"/>
                                <a:pt x="1773608" y="522201"/>
                                <a:pt x="1767052" y="505810"/>
                              </a:cubicBezTo>
                              <a:cubicBezTo>
                                <a:pt x="1764120" y="498480"/>
                                <a:pt x="1753914" y="497051"/>
                                <a:pt x="1747345" y="492672"/>
                              </a:cubicBezTo>
                              <a:cubicBezTo>
                                <a:pt x="1745155" y="481724"/>
                                <a:pt x="1743198" y="470727"/>
                                <a:pt x="1740776" y="459828"/>
                              </a:cubicBezTo>
                              <a:cubicBezTo>
                                <a:pt x="1738817" y="451015"/>
                                <a:pt x="1739987" y="440488"/>
                                <a:pt x="1734207" y="433552"/>
                              </a:cubicBezTo>
                              <a:cubicBezTo>
                                <a:pt x="1727938" y="426029"/>
                                <a:pt x="1716690" y="424793"/>
                                <a:pt x="1707931" y="420414"/>
                              </a:cubicBezTo>
                              <a:cubicBezTo>
                                <a:pt x="1705432" y="407921"/>
                                <a:pt x="1701526" y="381328"/>
                                <a:pt x="1694793" y="367862"/>
                              </a:cubicBezTo>
                              <a:cubicBezTo>
                                <a:pt x="1691262" y="360801"/>
                                <a:pt x="1686034" y="354724"/>
                                <a:pt x="1681655" y="348155"/>
                              </a:cubicBezTo>
                              <a:cubicBezTo>
                                <a:pt x="1679465" y="339396"/>
                                <a:pt x="1677566" y="330560"/>
                                <a:pt x="1675086" y="321879"/>
                              </a:cubicBezTo>
                              <a:cubicBezTo>
                                <a:pt x="1673184" y="315221"/>
                                <a:pt x="1674278" y="306013"/>
                                <a:pt x="1668517" y="302172"/>
                              </a:cubicBezTo>
                              <a:cubicBezTo>
                                <a:pt x="1659227" y="295979"/>
                                <a:pt x="1646444" y="298542"/>
                                <a:pt x="1635672" y="295604"/>
                              </a:cubicBezTo>
                              <a:cubicBezTo>
                                <a:pt x="1622312" y="291960"/>
                                <a:pt x="1609397" y="286845"/>
                                <a:pt x="1596259" y="282466"/>
                              </a:cubicBezTo>
                              <a:cubicBezTo>
                                <a:pt x="1582344" y="277828"/>
                                <a:pt x="1550153" y="271931"/>
                                <a:pt x="1537138" y="269328"/>
                              </a:cubicBezTo>
                              <a:cubicBezTo>
                                <a:pt x="1504293" y="271518"/>
                                <a:pt x="1471320" y="272262"/>
                                <a:pt x="1438603" y="275897"/>
                              </a:cubicBezTo>
                              <a:cubicBezTo>
                                <a:pt x="1431721" y="276662"/>
                                <a:pt x="1425555" y="280564"/>
                                <a:pt x="1418897" y="282466"/>
                              </a:cubicBezTo>
                              <a:cubicBezTo>
                                <a:pt x="1361151" y="298965"/>
                                <a:pt x="1420170" y="279852"/>
                                <a:pt x="1372914" y="295604"/>
                              </a:cubicBezTo>
                              <a:cubicBezTo>
                                <a:pt x="1368535" y="302173"/>
                                <a:pt x="1367671" y="315310"/>
                                <a:pt x="1359776" y="315310"/>
                              </a:cubicBezTo>
                              <a:cubicBezTo>
                                <a:pt x="1320525" y="315310"/>
                                <a:pt x="1326664" y="285868"/>
                                <a:pt x="1320362" y="262759"/>
                              </a:cubicBezTo>
                              <a:cubicBezTo>
                                <a:pt x="1316718" y="249398"/>
                                <a:pt x="1310583" y="236780"/>
                                <a:pt x="1307224" y="223345"/>
                              </a:cubicBezTo>
                              <a:cubicBezTo>
                                <a:pt x="1305034" y="214586"/>
                                <a:pt x="1308002" y="202317"/>
                                <a:pt x="1300655" y="197069"/>
                              </a:cubicBezTo>
                              <a:cubicBezTo>
                                <a:pt x="1289817" y="189327"/>
                                <a:pt x="1274413" y="192476"/>
                                <a:pt x="1261241" y="190500"/>
                              </a:cubicBezTo>
                              <a:lnTo>
                                <a:pt x="1169276" y="177362"/>
                              </a:lnTo>
                              <a:cubicBezTo>
                                <a:pt x="1167086" y="166414"/>
                                <a:pt x="1166627" y="154971"/>
                                <a:pt x="1162707" y="144517"/>
                              </a:cubicBezTo>
                              <a:cubicBezTo>
                                <a:pt x="1159935" y="137125"/>
                                <a:pt x="1149569" y="132705"/>
                                <a:pt x="1149569" y="124810"/>
                              </a:cubicBezTo>
                              <a:cubicBezTo>
                                <a:pt x="1149569" y="102480"/>
                                <a:pt x="1157686" y="80879"/>
                                <a:pt x="1162707" y="59121"/>
                              </a:cubicBezTo>
                              <a:cubicBezTo>
                                <a:pt x="1164264" y="52374"/>
                                <a:pt x="1168511" y="46296"/>
                                <a:pt x="1169276" y="39414"/>
                              </a:cubicBezTo>
                              <a:cubicBezTo>
                                <a:pt x="1170727" y="26356"/>
                                <a:pt x="1169276" y="13138"/>
                                <a:pt x="1169276" y="0"/>
                              </a:cubicBezTo>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56" name="Freeform 46"/>
                        <p:cNvSpPr>
                          <a:spLocks noChangeArrowheads="1"/>
                        </p:cNvSpPr>
                        <p:nvPr/>
                      </p:nvSpPr>
                      <p:spPr bwMode="auto">
                        <a:xfrm>
                          <a:off x="1453768" y="2396355"/>
                          <a:ext cx="786918" cy="820029"/>
                        </a:xfrm>
                        <a:custGeom>
                          <a:avLst/>
                          <a:gdLst>
                            <a:gd name="T0" fmla="*/ 2147483647 w 425"/>
                            <a:gd name="T1" fmla="*/ 2147483647 h 385"/>
                            <a:gd name="T2" fmla="*/ 2147483647 w 425"/>
                            <a:gd name="T3" fmla="*/ 2147483647 h 385"/>
                            <a:gd name="T4" fmla="*/ 2147483647 w 425"/>
                            <a:gd name="T5" fmla="*/ 2147483647 h 385"/>
                            <a:gd name="T6" fmla="*/ 2147483647 w 425"/>
                            <a:gd name="T7" fmla="*/ 2147483647 h 385"/>
                            <a:gd name="T8" fmla="*/ 2147483647 w 425"/>
                            <a:gd name="T9" fmla="*/ 2147483647 h 385"/>
                            <a:gd name="T10" fmla="*/ 2147483647 w 425"/>
                            <a:gd name="T11" fmla="*/ 2147483647 h 385"/>
                            <a:gd name="T12" fmla="*/ 2147483647 w 425"/>
                            <a:gd name="T13" fmla="*/ 2147483647 h 385"/>
                            <a:gd name="T14" fmla="*/ 2147483647 w 425"/>
                            <a:gd name="T15" fmla="*/ 2147483647 h 385"/>
                            <a:gd name="T16" fmla="*/ 2147483647 w 425"/>
                            <a:gd name="T17" fmla="*/ 2147483647 h 385"/>
                            <a:gd name="T18" fmla="*/ 2147483647 w 425"/>
                            <a:gd name="T19" fmla="*/ 2147483647 h 385"/>
                            <a:gd name="T20" fmla="*/ 2147483647 w 425"/>
                            <a:gd name="T21" fmla="*/ 2147483647 h 385"/>
                            <a:gd name="T22" fmla="*/ 2147483647 w 425"/>
                            <a:gd name="T23" fmla="*/ 2147483647 h 385"/>
                            <a:gd name="T24" fmla="*/ 2147483647 w 425"/>
                            <a:gd name="T25" fmla="*/ 2147483647 h 385"/>
                            <a:gd name="T26" fmla="*/ 2147483647 w 425"/>
                            <a:gd name="T27" fmla="*/ 2147483647 h 385"/>
                            <a:gd name="T28" fmla="*/ 2147483647 w 425"/>
                            <a:gd name="T29" fmla="*/ 2147483647 h 385"/>
                            <a:gd name="T30" fmla="*/ 2147483647 w 425"/>
                            <a:gd name="T31" fmla="*/ 2147483647 h 385"/>
                            <a:gd name="T32" fmla="*/ 2147483647 w 425"/>
                            <a:gd name="T33" fmla="*/ 2147483647 h 385"/>
                            <a:gd name="T34" fmla="*/ 2147483647 w 425"/>
                            <a:gd name="T35" fmla="*/ 2147483647 h 385"/>
                            <a:gd name="T36" fmla="*/ 2147483647 w 425"/>
                            <a:gd name="T37" fmla="*/ 2147483647 h 385"/>
                            <a:gd name="T38" fmla="*/ 2147483647 w 425"/>
                            <a:gd name="T39" fmla="*/ 2147483647 h 385"/>
                            <a:gd name="T40" fmla="*/ 2147483647 w 425"/>
                            <a:gd name="T41" fmla="*/ 2147483647 h 385"/>
                            <a:gd name="T42" fmla="*/ 2147483647 w 425"/>
                            <a:gd name="T43" fmla="*/ 2147483647 h 385"/>
                            <a:gd name="T44" fmla="*/ 2147483647 w 425"/>
                            <a:gd name="T45" fmla="*/ 2147483647 h 385"/>
                            <a:gd name="T46" fmla="*/ 2147483647 w 425"/>
                            <a:gd name="T47" fmla="*/ 2147483647 h 385"/>
                            <a:gd name="T48" fmla="*/ 2147483647 w 425"/>
                            <a:gd name="T49" fmla="*/ 2147483647 h 385"/>
                            <a:gd name="T50" fmla="*/ 2147483647 w 425"/>
                            <a:gd name="T51" fmla="*/ 2147483647 h 385"/>
                            <a:gd name="T52" fmla="*/ 2147483647 w 425"/>
                            <a:gd name="T53" fmla="*/ 2147483647 h 385"/>
                            <a:gd name="T54" fmla="*/ 2147483647 w 425"/>
                            <a:gd name="T55" fmla="*/ 2147483647 h 385"/>
                            <a:gd name="T56" fmla="*/ 2147483647 w 425"/>
                            <a:gd name="T57" fmla="*/ 2147483647 h 385"/>
                            <a:gd name="T58" fmla="*/ 2147483647 w 425"/>
                            <a:gd name="T59" fmla="*/ 2147483647 h 385"/>
                            <a:gd name="T60" fmla="*/ 2147483647 w 425"/>
                            <a:gd name="T61" fmla="*/ 0 h 385"/>
                            <a:gd name="T62" fmla="*/ 2147483647 w 425"/>
                            <a:gd name="T63" fmla="*/ 2147483647 h 385"/>
                            <a:gd name="T64" fmla="*/ 2147483647 w 425"/>
                            <a:gd name="T65" fmla="*/ 2147483647 h 385"/>
                            <a:gd name="T66" fmla="*/ 2147483647 w 425"/>
                            <a:gd name="T67" fmla="*/ 2147483647 h 385"/>
                            <a:gd name="T68" fmla="*/ 2147483647 w 425"/>
                            <a:gd name="T69" fmla="*/ 2147483647 h 385"/>
                            <a:gd name="T70" fmla="*/ 2147483647 w 425"/>
                            <a:gd name="T71" fmla="*/ 2147483647 h 385"/>
                            <a:gd name="T72" fmla="*/ 2147483647 w 425"/>
                            <a:gd name="T73" fmla="*/ 2147483647 h 385"/>
                            <a:gd name="T74" fmla="*/ 2147483647 w 425"/>
                            <a:gd name="T75" fmla="*/ 2147483647 h 385"/>
                            <a:gd name="T76" fmla="*/ 2147483647 w 425"/>
                            <a:gd name="T77" fmla="*/ 2147483647 h 385"/>
                            <a:gd name="T78" fmla="*/ 0 w 425"/>
                            <a:gd name="T79" fmla="*/ 2147483647 h 385"/>
                            <a:gd name="T80" fmla="*/ 2147483647 w 425"/>
                            <a:gd name="T81" fmla="*/ 2147483647 h 385"/>
                            <a:gd name="T82" fmla="*/ 2147483647 w 425"/>
                            <a:gd name="T83" fmla="*/ 2147483647 h 385"/>
                            <a:gd name="T84" fmla="*/ 2147483647 w 425"/>
                            <a:gd name="T85" fmla="*/ 2147483647 h 385"/>
                            <a:gd name="T86" fmla="*/ 2147483647 w 425"/>
                            <a:gd name="T87" fmla="*/ 2147483647 h 385"/>
                            <a:gd name="T88" fmla="*/ 2147483647 w 425"/>
                            <a:gd name="T89" fmla="*/ 2147483647 h 385"/>
                            <a:gd name="T90" fmla="*/ 2147483647 w 425"/>
                            <a:gd name="T91" fmla="*/ 2147483647 h 385"/>
                            <a:gd name="T92" fmla="*/ 2147483647 w 425"/>
                            <a:gd name="T93" fmla="*/ 2147483647 h 385"/>
                            <a:gd name="T94" fmla="*/ 2147483647 w 425"/>
                            <a:gd name="T95" fmla="*/ 2147483647 h 385"/>
                            <a:gd name="T96" fmla="*/ 2147483647 w 425"/>
                            <a:gd name="T97" fmla="*/ 2147483647 h 385"/>
                            <a:gd name="T98" fmla="*/ 2147483647 w 425"/>
                            <a:gd name="T99" fmla="*/ 2147483647 h 385"/>
                            <a:gd name="T100" fmla="*/ 2147483647 w 425"/>
                            <a:gd name="T101" fmla="*/ 2147483647 h 385"/>
                            <a:gd name="T102" fmla="*/ 2147483647 w 425"/>
                            <a:gd name="T103" fmla="*/ 2147483647 h 385"/>
                            <a:gd name="T104" fmla="*/ 2147483647 w 425"/>
                            <a:gd name="T105" fmla="*/ 2147483647 h 385"/>
                            <a:gd name="T106" fmla="*/ 2147483647 w 425"/>
                            <a:gd name="T107" fmla="*/ 2147483647 h 385"/>
                            <a:gd name="T108" fmla="*/ 2147483647 w 425"/>
                            <a:gd name="T109" fmla="*/ 2147483647 h 385"/>
                            <a:gd name="T110" fmla="*/ 2147483647 w 425"/>
                            <a:gd name="T111" fmla="*/ 2147483647 h 385"/>
                            <a:gd name="T112" fmla="*/ 2147483647 w 425"/>
                            <a:gd name="T113" fmla="*/ 2147483647 h 385"/>
                            <a:gd name="T114" fmla="*/ 2147483647 w 425"/>
                            <a:gd name="T115" fmla="*/ 2147483647 h 385"/>
                            <a:gd name="T116" fmla="*/ 2147483647 w 425"/>
                            <a:gd name="T117" fmla="*/ 2147483647 h 385"/>
                            <a:gd name="T118" fmla="*/ 2147483647 w 425"/>
                            <a:gd name="T119" fmla="*/ 2147483647 h 385"/>
                            <a:gd name="T120" fmla="*/ 2147483647 w 425"/>
                            <a:gd name="T121" fmla="*/ 2147483647 h 385"/>
                            <a:gd name="T122" fmla="*/ 2147483647 w 425"/>
                            <a:gd name="T123" fmla="*/ 2147483647 h 385"/>
                            <a:gd name="T124" fmla="*/ 2147483647 w 425"/>
                            <a:gd name="T125" fmla="*/ 2147483647 h 38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5"/>
                            <a:gd name="T190" fmla="*/ 0 h 385"/>
                            <a:gd name="T191" fmla="*/ 425 w 425"/>
                            <a:gd name="T192" fmla="*/ 385 h 38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5" h="385">
                              <a:moveTo>
                                <a:pt x="391" y="298"/>
                              </a:moveTo>
                              <a:cubicBezTo>
                                <a:pt x="394" y="296"/>
                                <a:pt x="397" y="297"/>
                                <a:pt x="400" y="295"/>
                              </a:cubicBezTo>
                              <a:cubicBezTo>
                                <a:pt x="402" y="294"/>
                                <a:pt x="401" y="290"/>
                                <a:pt x="402" y="288"/>
                              </a:cubicBezTo>
                              <a:cubicBezTo>
                                <a:pt x="405" y="281"/>
                                <a:pt x="415" y="283"/>
                                <a:pt x="421" y="283"/>
                              </a:cubicBezTo>
                              <a:cubicBezTo>
                                <a:pt x="420" y="254"/>
                                <a:pt x="425" y="259"/>
                                <a:pt x="399" y="260"/>
                              </a:cubicBezTo>
                              <a:cubicBezTo>
                                <a:pt x="397" y="265"/>
                                <a:pt x="389" y="257"/>
                                <a:pt x="383" y="256"/>
                              </a:cubicBezTo>
                              <a:cubicBezTo>
                                <a:pt x="377" y="254"/>
                                <a:pt x="379" y="253"/>
                                <a:pt x="376" y="248"/>
                              </a:cubicBezTo>
                              <a:cubicBezTo>
                                <a:pt x="373" y="243"/>
                                <a:pt x="356" y="243"/>
                                <a:pt x="353" y="243"/>
                              </a:cubicBezTo>
                              <a:cubicBezTo>
                                <a:pt x="350" y="239"/>
                                <a:pt x="348" y="239"/>
                                <a:pt x="343" y="238"/>
                              </a:cubicBezTo>
                              <a:cubicBezTo>
                                <a:pt x="344" y="231"/>
                                <a:pt x="343" y="224"/>
                                <a:pt x="349" y="220"/>
                              </a:cubicBezTo>
                              <a:cubicBezTo>
                                <a:pt x="350" y="215"/>
                                <a:pt x="352" y="211"/>
                                <a:pt x="353" y="206"/>
                              </a:cubicBezTo>
                              <a:cubicBezTo>
                                <a:pt x="354" y="204"/>
                                <a:pt x="355" y="200"/>
                                <a:pt x="355" y="200"/>
                              </a:cubicBezTo>
                              <a:cubicBezTo>
                                <a:pt x="354" y="195"/>
                                <a:pt x="345" y="189"/>
                                <a:pt x="345" y="189"/>
                              </a:cubicBezTo>
                              <a:cubicBezTo>
                                <a:pt x="343" y="186"/>
                                <a:pt x="341" y="178"/>
                                <a:pt x="341" y="178"/>
                              </a:cubicBezTo>
                              <a:cubicBezTo>
                                <a:pt x="342" y="172"/>
                                <a:pt x="343" y="163"/>
                                <a:pt x="348" y="160"/>
                              </a:cubicBezTo>
                              <a:cubicBezTo>
                                <a:pt x="351" y="156"/>
                                <a:pt x="354" y="154"/>
                                <a:pt x="359" y="152"/>
                              </a:cubicBezTo>
                              <a:cubicBezTo>
                                <a:pt x="359" y="150"/>
                                <a:pt x="359" y="148"/>
                                <a:pt x="358" y="146"/>
                              </a:cubicBezTo>
                              <a:cubicBezTo>
                                <a:pt x="357" y="144"/>
                                <a:pt x="352" y="144"/>
                                <a:pt x="352" y="144"/>
                              </a:cubicBezTo>
                              <a:cubicBezTo>
                                <a:pt x="351" y="142"/>
                                <a:pt x="351" y="139"/>
                                <a:pt x="349" y="138"/>
                              </a:cubicBezTo>
                              <a:cubicBezTo>
                                <a:pt x="347" y="137"/>
                                <a:pt x="343" y="136"/>
                                <a:pt x="343" y="136"/>
                              </a:cubicBezTo>
                              <a:cubicBezTo>
                                <a:pt x="336" y="137"/>
                                <a:pt x="330" y="138"/>
                                <a:pt x="323" y="140"/>
                              </a:cubicBezTo>
                              <a:cubicBezTo>
                                <a:pt x="317" y="139"/>
                                <a:pt x="315" y="138"/>
                                <a:pt x="313" y="132"/>
                              </a:cubicBezTo>
                              <a:cubicBezTo>
                                <a:pt x="312" y="125"/>
                                <a:pt x="308" y="109"/>
                                <a:pt x="317" y="106"/>
                              </a:cubicBezTo>
                              <a:cubicBezTo>
                                <a:pt x="320" y="101"/>
                                <a:pt x="324" y="98"/>
                                <a:pt x="329" y="97"/>
                              </a:cubicBezTo>
                              <a:cubicBezTo>
                                <a:pt x="334" y="105"/>
                                <a:pt x="329" y="103"/>
                                <a:pt x="343" y="102"/>
                              </a:cubicBezTo>
                              <a:cubicBezTo>
                                <a:pt x="346" y="94"/>
                                <a:pt x="344" y="96"/>
                                <a:pt x="352" y="98"/>
                              </a:cubicBezTo>
                              <a:cubicBezTo>
                                <a:pt x="362" y="105"/>
                                <a:pt x="347" y="104"/>
                                <a:pt x="370" y="102"/>
                              </a:cubicBezTo>
                              <a:cubicBezTo>
                                <a:pt x="373" y="92"/>
                                <a:pt x="368" y="105"/>
                                <a:pt x="391" y="98"/>
                              </a:cubicBezTo>
                              <a:cubicBezTo>
                                <a:pt x="393" y="97"/>
                                <a:pt x="393" y="93"/>
                                <a:pt x="395" y="92"/>
                              </a:cubicBezTo>
                              <a:cubicBezTo>
                                <a:pt x="394" y="85"/>
                                <a:pt x="393" y="87"/>
                                <a:pt x="388" y="84"/>
                              </a:cubicBezTo>
                              <a:cubicBezTo>
                                <a:pt x="384" y="71"/>
                                <a:pt x="393" y="69"/>
                                <a:pt x="375" y="71"/>
                              </a:cubicBezTo>
                              <a:cubicBezTo>
                                <a:pt x="370" y="78"/>
                                <a:pt x="375" y="77"/>
                                <a:pt x="363" y="78"/>
                              </a:cubicBezTo>
                              <a:cubicBezTo>
                                <a:pt x="349" y="77"/>
                                <a:pt x="353" y="77"/>
                                <a:pt x="344" y="71"/>
                              </a:cubicBezTo>
                              <a:cubicBezTo>
                                <a:pt x="346" y="66"/>
                                <a:pt x="353" y="62"/>
                                <a:pt x="344" y="56"/>
                              </a:cubicBezTo>
                              <a:cubicBezTo>
                                <a:pt x="341" y="52"/>
                                <a:pt x="342" y="51"/>
                                <a:pt x="346" y="48"/>
                              </a:cubicBezTo>
                              <a:cubicBezTo>
                                <a:pt x="344" y="41"/>
                                <a:pt x="346" y="43"/>
                                <a:pt x="341" y="41"/>
                              </a:cubicBezTo>
                              <a:cubicBezTo>
                                <a:pt x="335" y="41"/>
                                <a:pt x="328" y="41"/>
                                <a:pt x="322" y="42"/>
                              </a:cubicBezTo>
                              <a:cubicBezTo>
                                <a:pt x="321" y="42"/>
                                <a:pt x="323" y="46"/>
                                <a:pt x="324" y="46"/>
                              </a:cubicBezTo>
                              <a:cubicBezTo>
                                <a:pt x="322" y="59"/>
                                <a:pt x="322" y="59"/>
                                <a:pt x="308" y="60"/>
                              </a:cubicBezTo>
                              <a:cubicBezTo>
                                <a:pt x="305" y="70"/>
                                <a:pt x="305" y="85"/>
                                <a:pt x="293" y="87"/>
                              </a:cubicBezTo>
                              <a:cubicBezTo>
                                <a:pt x="288" y="95"/>
                                <a:pt x="289" y="94"/>
                                <a:pt x="279" y="95"/>
                              </a:cubicBezTo>
                              <a:cubicBezTo>
                                <a:pt x="275" y="102"/>
                                <a:pt x="277" y="110"/>
                                <a:pt x="272" y="117"/>
                              </a:cubicBezTo>
                              <a:cubicBezTo>
                                <a:pt x="271" y="157"/>
                                <a:pt x="278" y="152"/>
                                <a:pt x="253" y="144"/>
                              </a:cubicBezTo>
                              <a:cubicBezTo>
                                <a:pt x="246" y="145"/>
                                <a:pt x="239" y="144"/>
                                <a:pt x="233" y="148"/>
                              </a:cubicBezTo>
                              <a:cubicBezTo>
                                <a:pt x="231" y="154"/>
                                <a:pt x="226" y="152"/>
                                <a:pt x="220" y="151"/>
                              </a:cubicBezTo>
                              <a:cubicBezTo>
                                <a:pt x="213" y="149"/>
                                <a:pt x="216" y="150"/>
                                <a:pt x="211" y="147"/>
                              </a:cubicBezTo>
                              <a:cubicBezTo>
                                <a:pt x="209" y="140"/>
                                <a:pt x="209" y="135"/>
                                <a:pt x="205" y="129"/>
                              </a:cubicBezTo>
                              <a:cubicBezTo>
                                <a:pt x="204" y="127"/>
                                <a:pt x="203" y="123"/>
                                <a:pt x="203" y="123"/>
                              </a:cubicBezTo>
                              <a:cubicBezTo>
                                <a:pt x="202" y="116"/>
                                <a:pt x="201" y="112"/>
                                <a:pt x="195" y="108"/>
                              </a:cubicBezTo>
                              <a:cubicBezTo>
                                <a:pt x="194" y="104"/>
                                <a:pt x="192" y="102"/>
                                <a:pt x="189" y="100"/>
                              </a:cubicBezTo>
                              <a:cubicBezTo>
                                <a:pt x="184" y="92"/>
                                <a:pt x="176" y="69"/>
                                <a:pt x="170" y="65"/>
                              </a:cubicBezTo>
                              <a:cubicBezTo>
                                <a:pt x="158" y="67"/>
                                <a:pt x="172" y="70"/>
                                <a:pt x="153" y="68"/>
                              </a:cubicBezTo>
                              <a:cubicBezTo>
                                <a:pt x="148" y="65"/>
                                <a:pt x="149" y="59"/>
                                <a:pt x="143" y="55"/>
                              </a:cubicBezTo>
                              <a:cubicBezTo>
                                <a:pt x="143" y="53"/>
                                <a:pt x="143" y="51"/>
                                <a:pt x="144" y="49"/>
                              </a:cubicBezTo>
                              <a:cubicBezTo>
                                <a:pt x="145" y="48"/>
                                <a:pt x="148" y="49"/>
                                <a:pt x="148" y="48"/>
                              </a:cubicBezTo>
                              <a:cubicBezTo>
                                <a:pt x="150" y="41"/>
                                <a:pt x="145" y="35"/>
                                <a:pt x="140" y="31"/>
                              </a:cubicBezTo>
                              <a:cubicBezTo>
                                <a:pt x="137" y="26"/>
                                <a:pt x="134" y="20"/>
                                <a:pt x="129" y="17"/>
                              </a:cubicBezTo>
                              <a:cubicBezTo>
                                <a:pt x="119" y="19"/>
                                <a:pt x="127" y="26"/>
                                <a:pt x="116" y="28"/>
                              </a:cubicBezTo>
                              <a:cubicBezTo>
                                <a:pt x="113" y="32"/>
                                <a:pt x="114" y="33"/>
                                <a:pt x="117" y="37"/>
                              </a:cubicBezTo>
                              <a:cubicBezTo>
                                <a:pt x="115" y="41"/>
                                <a:pt x="115" y="43"/>
                                <a:pt x="111" y="44"/>
                              </a:cubicBezTo>
                              <a:cubicBezTo>
                                <a:pt x="106" y="42"/>
                                <a:pt x="107" y="38"/>
                                <a:pt x="104" y="34"/>
                              </a:cubicBezTo>
                              <a:cubicBezTo>
                                <a:pt x="104" y="28"/>
                                <a:pt x="109" y="3"/>
                                <a:pt x="101" y="0"/>
                              </a:cubicBezTo>
                              <a:cubicBezTo>
                                <a:pt x="93" y="2"/>
                                <a:pt x="102" y="4"/>
                                <a:pt x="95" y="6"/>
                              </a:cubicBezTo>
                              <a:cubicBezTo>
                                <a:pt x="92" y="2"/>
                                <a:pt x="91" y="1"/>
                                <a:pt x="86" y="2"/>
                              </a:cubicBezTo>
                              <a:cubicBezTo>
                                <a:pt x="85" y="16"/>
                                <a:pt x="90" y="39"/>
                                <a:pt x="74" y="44"/>
                              </a:cubicBezTo>
                              <a:cubicBezTo>
                                <a:pt x="64" y="43"/>
                                <a:pt x="56" y="39"/>
                                <a:pt x="51" y="47"/>
                              </a:cubicBezTo>
                              <a:cubicBezTo>
                                <a:pt x="53" y="53"/>
                                <a:pt x="50" y="56"/>
                                <a:pt x="57" y="58"/>
                              </a:cubicBezTo>
                              <a:cubicBezTo>
                                <a:pt x="59" y="85"/>
                                <a:pt x="58" y="71"/>
                                <a:pt x="68" y="68"/>
                              </a:cubicBezTo>
                              <a:cubicBezTo>
                                <a:pt x="76" y="70"/>
                                <a:pt x="74" y="74"/>
                                <a:pt x="75" y="81"/>
                              </a:cubicBezTo>
                              <a:cubicBezTo>
                                <a:pt x="75" y="85"/>
                                <a:pt x="73" y="89"/>
                                <a:pt x="73" y="93"/>
                              </a:cubicBezTo>
                              <a:cubicBezTo>
                                <a:pt x="73" y="95"/>
                                <a:pt x="75" y="99"/>
                                <a:pt x="75" y="99"/>
                              </a:cubicBezTo>
                              <a:cubicBezTo>
                                <a:pt x="74" y="106"/>
                                <a:pt x="72" y="109"/>
                                <a:pt x="73" y="115"/>
                              </a:cubicBezTo>
                              <a:cubicBezTo>
                                <a:pt x="70" y="125"/>
                                <a:pt x="72" y="133"/>
                                <a:pt x="61" y="137"/>
                              </a:cubicBezTo>
                              <a:cubicBezTo>
                                <a:pt x="57" y="150"/>
                                <a:pt x="61" y="152"/>
                                <a:pt x="51" y="159"/>
                              </a:cubicBezTo>
                              <a:cubicBezTo>
                                <a:pt x="50" y="160"/>
                                <a:pt x="48" y="164"/>
                                <a:pt x="46" y="164"/>
                              </a:cubicBezTo>
                              <a:cubicBezTo>
                                <a:pt x="43" y="164"/>
                                <a:pt x="37" y="161"/>
                                <a:pt x="37" y="161"/>
                              </a:cubicBezTo>
                              <a:cubicBezTo>
                                <a:pt x="33" y="173"/>
                                <a:pt x="24" y="172"/>
                                <a:pt x="15" y="178"/>
                              </a:cubicBezTo>
                              <a:cubicBezTo>
                                <a:pt x="12" y="187"/>
                                <a:pt x="6" y="196"/>
                                <a:pt x="3" y="205"/>
                              </a:cubicBezTo>
                              <a:cubicBezTo>
                                <a:pt x="4" y="216"/>
                                <a:pt x="2" y="217"/>
                                <a:pt x="10" y="220"/>
                              </a:cubicBezTo>
                              <a:cubicBezTo>
                                <a:pt x="7" y="229"/>
                                <a:pt x="10" y="233"/>
                                <a:pt x="0" y="235"/>
                              </a:cubicBezTo>
                              <a:cubicBezTo>
                                <a:pt x="6" y="241"/>
                                <a:pt x="14" y="238"/>
                                <a:pt x="23" y="237"/>
                              </a:cubicBezTo>
                              <a:cubicBezTo>
                                <a:pt x="25" y="234"/>
                                <a:pt x="31" y="232"/>
                                <a:pt x="31" y="232"/>
                              </a:cubicBezTo>
                              <a:cubicBezTo>
                                <a:pt x="52" y="233"/>
                                <a:pt x="70" y="229"/>
                                <a:pt x="55" y="239"/>
                              </a:cubicBezTo>
                              <a:cubicBezTo>
                                <a:pt x="51" y="245"/>
                                <a:pt x="49" y="251"/>
                                <a:pt x="58" y="253"/>
                              </a:cubicBezTo>
                              <a:cubicBezTo>
                                <a:pt x="60" y="260"/>
                                <a:pt x="58" y="268"/>
                                <a:pt x="62" y="274"/>
                              </a:cubicBezTo>
                              <a:cubicBezTo>
                                <a:pt x="64" y="283"/>
                                <a:pt x="83" y="281"/>
                                <a:pt x="93" y="283"/>
                              </a:cubicBezTo>
                              <a:cubicBezTo>
                                <a:pt x="93" y="285"/>
                                <a:pt x="93" y="288"/>
                                <a:pt x="92" y="290"/>
                              </a:cubicBezTo>
                              <a:cubicBezTo>
                                <a:pt x="90" y="292"/>
                                <a:pt x="83" y="293"/>
                                <a:pt x="83" y="293"/>
                              </a:cubicBezTo>
                              <a:cubicBezTo>
                                <a:pt x="81" y="297"/>
                                <a:pt x="78" y="305"/>
                                <a:pt x="78" y="305"/>
                              </a:cubicBezTo>
                              <a:cubicBezTo>
                                <a:pt x="79" y="305"/>
                                <a:pt x="84" y="307"/>
                                <a:pt x="84" y="308"/>
                              </a:cubicBezTo>
                              <a:cubicBezTo>
                                <a:pt x="85" y="311"/>
                                <a:pt x="76" y="315"/>
                                <a:pt x="76" y="315"/>
                              </a:cubicBezTo>
                              <a:cubicBezTo>
                                <a:pt x="71" y="322"/>
                                <a:pt x="73" y="319"/>
                                <a:pt x="71" y="324"/>
                              </a:cubicBezTo>
                              <a:cubicBezTo>
                                <a:pt x="72" y="330"/>
                                <a:pt x="77" y="332"/>
                                <a:pt x="83" y="333"/>
                              </a:cubicBezTo>
                              <a:cubicBezTo>
                                <a:pt x="86" y="342"/>
                                <a:pt x="101" y="335"/>
                                <a:pt x="110" y="336"/>
                              </a:cubicBezTo>
                              <a:cubicBezTo>
                                <a:pt x="112" y="340"/>
                                <a:pt x="109" y="349"/>
                                <a:pt x="109" y="349"/>
                              </a:cubicBezTo>
                              <a:cubicBezTo>
                                <a:pt x="112" y="364"/>
                                <a:pt x="114" y="360"/>
                                <a:pt x="133" y="361"/>
                              </a:cubicBezTo>
                              <a:cubicBezTo>
                                <a:pt x="138" y="363"/>
                                <a:pt x="144" y="361"/>
                                <a:pt x="149" y="359"/>
                              </a:cubicBezTo>
                              <a:cubicBezTo>
                                <a:pt x="151" y="356"/>
                                <a:pt x="153" y="354"/>
                                <a:pt x="157" y="353"/>
                              </a:cubicBezTo>
                              <a:cubicBezTo>
                                <a:pt x="169" y="354"/>
                                <a:pt x="165" y="357"/>
                                <a:pt x="163" y="367"/>
                              </a:cubicBezTo>
                              <a:cubicBezTo>
                                <a:pt x="165" y="375"/>
                                <a:pt x="167" y="370"/>
                                <a:pt x="168" y="380"/>
                              </a:cubicBezTo>
                              <a:cubicBezTo>
                                <a:pt x="176" y="379"/>
                                <a:pt x="176" y="377"/>
                                <a:pt x="185" y="378"/>
                              </a:cubicBezTo>
                              <a:cubicBezTo>
                                <a:pt x="187" y="385"/>
                                <a:pt x="196" y="383"/>
                                <a:pt x="198" y="377"/>
                              </a:cubicBezTo>
                              <a:cubicBezTo>
                                <a:pt x="198" y="375"/>
                                <a:pt x="198" y="373"/>
                                <a:pt x="197" y="372"/>
                              </a:cubicBezTo>
                              <a:cubicBezTo>
                                <a:pt x="196" y="371"/>
                                <a:pt x="191" y="370"/>
                                <a:pt x="191" y="370"/>
                              </a:cubicBezTo>
                              <a:cubicBezTo>
                                <a:pt x="190" y="368"/>
                                <a:pt x="195" y="358"/>
                                <a:pt x="197" y="355"/>
                              </a:cubicBezTo>
                              <a:cubicBezTo>
                                <a:pt x="196" y="350"/>
                                <a:pt x="196" y="349"/>
                                <a:pt x="192" y="346"/>
                              </a:cubicBezTo>
                              <a:cubicBezTo>
                                <a:pt x="188" y="334"/>
                                <a:pt x="189" y="326"/>
                                <a:pt x="201" y="322"/>
                              </a:cubicBezTo>
                              <a:cubicBezTo>
                                <a:pt x="211" y="323"/>
                                <a:pt x="218" y="325"/>
                                <a:pt x="227" y="324"/>
                              </a:cubicBezTo>
                              <a:cubicBezTo>
                                <a:pt x="236" y="321"/>
                                <a:pt x="223" y="326"/>
                                <a:pt x="231" y="318"/>
                              </a:cubicBezTo>
                              <a:cubicBezTo>
                                <a:pt x="233" y="316"/>
                                <a:pt x="240" y="315"/>
                                <a:pt x="240" y="315"/>
                              </a:cubicBezTo>
                              <a:cubicBezTo>
                                <a:pt x="245" y="316"/>
                                <a:pt x="250" y="319"/>
                                <a:pt x="255" y="322"/>
                              </a:cubicBezTo>
                              <a:cubicBezTo>
                                <a:pt x="258" y="324"/>
                                <a:pt x="264" y="328"/>
                                <a:pt x="264" y="328"/>
                              </a:cubicBezTo>
                              <a:cubicBezTo>
                                <a:pt x="267" y="327"/>
                                <a:pt x="272" y="319"/>
                                <a:pt x="278" y="315"/>
                              </a:cubicBezTo>
                              <a:cubicBezTo>
                                <a:pt x="289" y="317"/>
                                <a:pt x="279" y="325"/>
                                <a:pt x="287" y="322"/>
                              </a:cubicBezTo>
                              <a:cubicBezTo>
                                <a:pt x="288" y="320"/>
                                <a:pt x="298" y="311"/>
                                <a:pt x="290" y="314"/>
                              </a:cubicBezTo>
                              <a:cubicBezTo>
                                <a:pt x="289" y="321"/>
                                <a:pt x="276" y="320"/>
                                <a:pt x="289" y="318"/>
                              </a:cubicBezTo>
                              <a:cubicBezTo>
                                <a:pt x="293" y="312"/>
                                <a:pt x="302" y="315"/>
                                <a:pt x="307" y="319"/>
                              </a:cubicBezTo>
                              <a:cubicBezTo>
                                <a:pt x="309" y="324"/>
                                <a:pt x="310" y="325"/>
                                <a:pt x="314" y="327"/>
                              </a:cubicBezTo>
                              <a:cubicBezTo>
                                <a:pt x="310" y="322"/>
                                <a:pt x="314" y="320"/>
                                <a:pt x="319" y="318"/>
                              </a:cubicBezTo>
                              <a:cubicBezTo>
                                <a:pt x="321" y="313"/>
                                <a:pt x="335" y="315"/>
                                <a:pt x="339" y="315"/>
                              </a:cubicBezTo>
                              <a:cubicBezTo>
                                <a:pt x="346" y="314"/>
                                <a:pt x="342" y="315"/>
                                <a:pt x="350" y="312"/>
                              </a:cubicBezTo>
                              <a:cubicBezTo>
                                <a:pt x="352" y="311"/>
                                <a:pt x="356" y="310"/>
                                <a:pt x="356" y="310"/>
                              </a:cubicBezTo>
                              <a:cubicBezTo>
                                <a:pt x="357" y="297"/>
                                <a:pt x="365" y="298"/>
                                <a:pt x="376" y="294"/>
                              </a:cubicBezTo>
                              <a:cubicBezTo>
                                <a:pt x="379" y="289"/>
                                <a:pt x="380" y="290"/>
                                <a:pt x="386" y="291"/>
                              </a:cubicBezTo>
                              <a:cubicBezTo>
                                <a:pt x="388" y="298"/>
                                <a:pt x="386" y="297"/>
                                <a:pt x="393" y="297"/>
                              </a:cubicBezTo>
                              <a:cubicBezTo>
                                <a:pt x="394" y="297"/>
                                <a:pt x="392" y="298"/>
                                <a:pt x="391" y="298"/>
                              </a:cubicBezTo>
                              <a:close/>
                            </a:path>
                          </a:pathLst>
                        </a:custGeom>
                        <a:gradFill rotWithShape="1">
                          <a:gsLst>
                            <a:gs pos="0">
                              <a:srgbClr val="BCBCBC"/>
                            </a:gs>
                            <a:gs pos="79999">
                              <a:srgbClr val="F6F6F6"/>
                            </a:gs>
                            <a:gs pos="100000">
                              <a:srgbClr val="F7F7F7"/>
                            </a:gs>
                          </a:gsLst>
                          <a:lin ang="16200000" scaled="1"/>
                        </a:gradFill>
                        <a:ln w="9525" cap="flat" cmpd="sng">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buFont typeface="Arial" charset="0"/>
                            <a:buNone/>
                          </a:pPr>
                          <a:endParaRPr lang="zh-CN" altLang="en-US">
                            <a:solidFill>
                              <a:srgbClr val="000000"/>
                            </a:solidFill>
                            <a:latin typeface="Arial"/>
                            <a:ea typeface="宋体"/>
                          </a:endParaRPr>
                        </a:p>
                      </p:txBody>
                    </p:sp>
                    <p:sp>
                      <p:nvSpPr>
                        <p:cNvPr id="157" name="椭圆 128"/>
                        <p:cNvSpPr>
                          <a:spLocks noChangeArrowheads="1"/>
                        </p:cNvSpPr>
                        <p:nvPr/>
                      </p:nvSpPr>
                      <p:spPr bwMode="auto">
                        <a:xfrm>
                          <a:off x="2362064" y="2601289"/>
                          <a:ext cx="84049" cy="89226"/>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58" name="椭圆 128"/>
                        <p:cNvSpPr>
                          <a:spLocks noChangeArrowheads="1"/>
                        </p:cNvSpPr>
                        <p:nvPr/>
                      </p:nvSpPr>
                      <p:spPr bwMode="auto">
                        <a:xfrm>
                          <a:off x="2633370" y="2244185"/>
                          <a:ext cx="84049" cy="89226"/>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59" name="椭圆 128"/>
                        <p:cNvSpPr>
                          <a:spLocks noChangeArrowheads="1"/>
                        </p:cNvSpPr>
                        <p:nvPr/>
                      </p:nvSpPr>
                      <p:spPr bwMode="auto">
                        <a:xfrm>
                          <a:off x="3528289" y="2149143"/>
                          <a:ext cx="84052" cy="89226"/>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grpSp>
                </p:grpSp>
                <p:sp>
                  <p:nvSpPr>
                    <p:cNvPr id="98" name="椭圆 128"/>
                    <p:cNvSpPr>
                      <a:spLocks noChangeArrowheads="1"/>
                    </p:cNvSpPr>
                    <p:nvPr/>
                  </p:nvSpPr>
                  <p:spPr bwMode="auto">
                    <a:xfrm>
                      <a:off x="3390805" y="1999359"/>
                      <a:ext cx="95777" cy="96828"/>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99" name="椭圆 128"/>
                    <p:cNvSpPr>
                      <a:spLocks noChangeArrowheads="1"/>
                    </p:cNvSpPr>
                    <p:nvPr/>
                  </p:nvSpPr>
                  <p:spPr bwMode="auto">
                    <a:xfrm>
                      <a:off x="3673654" y="1503720"/>
                      <a:ext cx="95777" cy="96828"/>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00" name="椭圆 128"/>
                    <p:cNvSpPr>
                      <a:spLocks noChangeArrowheads="1"/>
                    </p:cNvSpPr>
                    <p:nvPr/>
                  </p:nvSpPr>
                  <p:spPr bwMode="auto">
                    <a:xfrm>
                      <a:off x="3464854" y="3314453"/>
                      <a:ext cx="95777" cy="96828"/>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01" name="椭圆 128"/>
                    <p:cNvSpPr>
                      <a:spLocks noChangeArrowheads="1"/>
                    </p:cNvSpPr>
                    <p:nvPr/>
                  </p:nvSpPr>
                  <p:spPr bwMode="auto">
                    <a:xfrm>
                      <a:off x="3390805" y="3266039"/>
                      <a:ext cx="95777" cy="96828"/>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02" name="椭圆 128"/>
                    <p:cNvSpPr>
                      <a:spLocks noChangeArrowheads="1"/>
                    </p:cNvSpPr>
                    <p:nvPr/>
                  </p:nvSpPr>
                  <p:spPr bwMode="auto">
                    <a:xfrm>
                      <a:off x="3757394" y="1648728"/>
                      <a:ext cx="95777" cy="96828"/>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06" name="椭圆 128"/>
                    <p:cNvSpPr>
                      <a:spLocks noChangeArrowheads="1"/>
                    </p:cNvSpPr>
                    <p:nvPr/>
                  </p:nvSpPr>
                  <p:spPr bwMode="auto">
                    <a:xfrm>
                      <a:off x="4038901" y="2352697"/>
                      <a:ext cx="95777" cy="96828"/>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08" name="椭圆 128"/>
                    <p:cNvSpPr>
                      <a:spLocks noChangeArrowheads="1"/>
                    </p:cNvSpPr>
                    <p:nvPr/>
                  </p:nvSpPr>
                  <p:spPr bwMode="auto">
                    <a:xfrm>
                      <a:off x="4039514" y="2193950"/>
                      <a:ext cx="95777" cy="96828"/>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10" name="椭圆 128"/>
                    <p:cNvSpPr>
                      <a:spLocks noChangeArrowheads="1"/>
                    </p:cNvSpPr>
                    <p:nvPr/>
                  </p:nvSpPr>
                  <p:spPr bwMode="auto">
                    <a:xfrm>
                      <a:off x="2922086" y="2031089"/>
                      <a:ext cx="95777" cy="96828"/>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12" name="椭圆 128"/>
                    <p:cNvSpPr>
                      <a:spLocks noChangeArrowheads="1"/>
                    </p:cNvSpPr>
                    <p:nvPr/>
                  </p:nvSpPr>
                  <p:spPr bwMode="auto">
                    <a:xfrm>
                      <a:off x="4267433" y="2537682"/>
                      <a:ext cx="95780" cy="96828"/>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13" name="椭圆 128"/>
                    <p:cNvSpPr>
                      <a:spLocks noChangeArrowheads="1"/>
                    </p:cNvSpPr>
                    <p:nvPr/>
                  </p:nvSpPr>
                  <p:spPr bwMode="auto">
                    <a:xfrm>
                      <a:off x="4123417" y="2500277"/>
                      <a:ext cx="95780" cy="96828"/>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14" name="椭圆 128"/>
                    <p:cNvSpPr>
                      <a:spLocks noChangeArrowheads="1"/>
                    </p:cNvSpPr>
                    <p:nvPr/>
                  </p:nvSpPr>
                  <p:spPr bwMode="auto">
                    <a:xfrm>
                      <a:off x="2350894" y="2470276"/>
                      <a:ext cx="95777" cy="96828"/>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16" name="椭圆 128"/>
                    <p:cNvSpPr>
                      <a:spLocks noChangeArrowheads="1"/>
                    </p:cNvSpPr>
                    <p:nvPr/>
                  </p:nvSpPr>
                  <p:spPr bwMode="auto">
                    <a:xfrm>
                      <a:off x="2809858" y="2562675"/>
                      <a:ext cx="95777" cy="96828"/>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18" name="椭圆 128"/>
                    <p:cNvSpPr>
                      <a:spLocks noChangeArrowheads="1"/>
                    </p:cNvSpPr>
                    <p:nvPr/>
                  </p:nvSpPr>
                  <p:spPr bwMode="auto">
                    <a:xfrm>
                      <a:off x="3943124" y="2210575"/>
                      <a:ext cx="95777" cy="96828"/>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grpSp>
              <p:sp>
                <p:nvSpPr>
                  <p:cNvPr id="93" name="椭圆 128"/>
                  <p:cNvSpPr>
                    <a:spLocks noChangeArrowheads="1"/>
                  </p:cNvSpPr>
                  <p:nvPr/>
                </p:nvSpPr>
                <p:spPr bwMode="auto">
                  <a:xfrm>
                    <a:off x="3810651" y="2398495"/>
                    <a:ext cx="95777" cy="96828"/>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95" name="椭圆 128"/>
                  <p:cNvSpPr>
                    <a:spLocks noChangeArrowheads="1"/>
                  </p:cNvSpPr>
                  <p:nvPr/>
                </p:nvSpPr>
                <p:spPr bwMode="auto">
                  <a:xfrm>
                    <a:off x="4087401" y="2703125"/>
                    <a:ext cx="95780" cy="96828"/>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grpSp>
            <p:sp>
              <p:nvSpPr>
                <p:cNvPr id="63" name="椭圆 128"/>
                <p:cNvSpPr>
                  <a:spLocks noChangeArrowheads="1"/>
                </p:cNvSpPr>
                <p:nvPr/>
              </p:nvSpPr>
              <p:spPr bwMode="auto">
                <a:xfrm>
                  <a:off x="3994150" y="2859088"/>
                  <a:ext cx="79375" cy="79375"/>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64" name="椭圆 128"/>
                <p:cNvSpPr>
                  <a:spLocks noChangeArrowheads="1"/>
                </p:cNvSpPr>
                <p:nvPr/>
              </p:nvSpPr>
              <p:spPr bwMode="auto">
                <a:xfrm>
                  <a:off x="3771900" y="3051175"/>
                  <a:ext cx="77788" cy="79375"/>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66" name="椭圆 128"/>
                <p:cNvSpPr>
                  <a:spLocks noChangeArrowheads="1"/>
                </p:cNvSpPr>
                <p:nvPr/>
              </p:nvSpPr>
              <p:spPr bwMode="auto">
                <a:xfrm>
                  <a:off x="4025900" y="3913188"/>
                  <a:ext cx="77788" cy="79375"/>
                </a:xfrm>
                <a:prstGeom prst="ellipse">
                  <a:avLst/>
                </a:prstGeom>
                <a:solidFill>
                  <a:srgbClr val="6CAAC0"/>
                </a:solidFill>
                <a:ln>
                  <a:noFill/>
                </a:ln>
                <a:effectLst/>
                <a:extLst>
                  <a:ext uri="{91240B29-F687-4F45-9708-019B960494DF}">
                    <a14:hiddenLine xmlns:a14="http://schemas.microsoft.com/office/drawing/2010/main" w="9525">
                      <a:solidFill>
                        <a:srgbClr val="6CAAC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69" name="椭圆 128"/>
                <p:cNvSpPr>
                  <a:spLocks noChangeArrowheads="1"/>
                </p:cNvSpPr>
                <p:nvPr/>
              </p:nvSpPr>
              <p:spPr bwMode="auto">
                <a:xfrm>
                  <a:off x="2522538" y="4305300"/>
                  <a:ext cx="79375" cy="79375"/>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70" name="椭圆 128"/>
                <p:cNvSpPr>
                  <a:spLocks noChangeArrowheads="1"/>
                </p:cNvSpPr>
                <p:nvPr/>
              </p:nvSpPr>
              <p:spPr bwMode="auto">
                <a:xfrm>
                  <a:off x="3048000" y="4527550"/>
                  <a:ext cx="79375" cy="79375"/>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71" name="椭圆 128"/>
                <p:cNvSpPr>
                  <a:spLocks noChangeArrowheads="1"/>
                </p:cNvSpPr>
                <p:nvPr/>
              </p:nvSpPr>
              <p:spPr bwMode="auto">
                <a:xfrm>
                  <a:off x="2790825" y="3822700"/>
                  <a:ext cx="79375" cy="79375"/>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73" name="椭圆 128"/>
                <p:cNvSpPr>
                  <a:spLocks noChangeArrowheads="1"/>
                </p:cNvSpPr>
                <p:nvPr/>
              </p:nvSpPr>
              <p:spPr bwMode="auto">
                <a:xfrm>
                  <a:off x="2857500" y="3175000"/>
                  <a:ext cx="79375" cy="79375"/>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75" name="椭圆 128"/>
                <p:cNvSpPr>
                  <a:spLocks noChangeArrowheads="1"/>
                </p:cNvSpPr>
                <p:nvPr/>
              </p:nvSpPr>
              <p:spPr bwMode="auto">
                <a:xfrm>
                  <a:off x="4186238" y="2543175"/>
                  <a:ext cx="77787" cy="68263"/>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78" name="椭圆 128"/>
                <p:cNvSpPr>
                  <a:spLocks noChangeArrowheads="1"/>
                </p:cNvSpPr>
                <p:nvPr/>
              </p:nvSpPr>
              <p:spPr bwMode="auto">
                <a:xfrm>
                  <a:off x="3822700" y="4265613"/>
                  <a:ext cx="77788" cy="79375"/>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79" name="椭圆 128"/>
                <p:cNvSpPr>
                  <a:spLocks noChangeArrowheads="1"/>
                </p:cNvSpPr>
                <p:nvPr/>
              </p:nvSpPr>
              <p:spPr bwMode="auto">
                <a:xfrm>
                  <a:off x="3606800" y="3968750"/>
                  <a:ext cx="79375" cy="79375"/>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81" name="椭圆 128"/>
                <p:cNvSpPr>
                  <a:spLocks noChangeArrowheads="1"/>
                </p:cNvSpPr>
                <p:nvPr/>
              </p:nvSpPr>
              <p:spPr bwMode="auto">
                <a:xfrm>
                  <a:off x="2644775" y="4013200"/>
                  <a:ext cx="77788" cy="79375"/>
                </a:xfrm>
                <a:prstGeom prst="ellipse">
                  <a:avLst/>
                </a:prstGeom>
                <a:gradFill rotWithShape="1">
                  <a:gsLst>
                    <a:gs pos="0">
                      <a:srgbClr val="458196"/>
                    </a:gs>
                    <a:gs pos="79999">
                      <a:srgbClr val="5BA9C5"/>
                    </a:gs>
                    <a:gs pos="100000">
                      <a:srgbClr val="5AABC8"/>
                    </a:gs>
                  </a:gsLst>
                  <a:lin ang="5400000" scaled="1"/>
                </a:gradFill>
                <a:ln w="9525">
                  <a:solidFill>
                    <a:srgbClr val="6CAAC0"/>
                  </a:solidFill>
                  <a:round/>
                  <a:headEnd/>
                  <a:tailEnd/>
                </a:ln>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83" name="椭圆 128"/>
                <p:cNvSpPr>
                  <a:spLocks noChangeArrowheads="1"/>
                </p:cNvSpPr>
                <p:nvPr/>
              </p:nvSpPr>
              <p:spPr bwMode="auto">
                <a:xfrm>
                  <a:off x="2771775" y="4005263"/>
                  <a:ext cx="79375" cy="79375"/>
                </a:xfrm>
                <a:prstGeom prst="ellipse">
                  <a:avLst/>
                </a:prstGeom>
                <a:gradFill rotWithShape="1">
                  <a:gsLst>
                    <a:gs pos="0">
                      <a:srgbClr val="458196"/>
                    </a:gs>
                    <a:gs pos="79999">
                      <a:srgbClr val="5BA9C5"/>
                    </a:gs>
                    <a:gs pos="100000">
                      <a:srgbClr val="5AABC8"/>
                    </a:gs>
                  </a:gsLst>
                  <a:lin ang="5400000" scaled="1"/>
                </a:gradFill>
                <a:ln w="9525">
                  <a:solidFill>
                    <a:srgbClr val="6CAAC0"/>
                  </a:solidFill>
                  <a:miter lim="800000"/>
                  <a:headEnd/>
                  <a:tailEnd/>
                </a:ln>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85" name="椭圆 128"/>
                <p:cNvSpPr>
                  <a:spLocks noChangeArrowheads="1"/>
                </p:cNvSpPr>
                <p:nvPr/>
              </p:nvSpPr>
              <p:spPr bwMode="auto">
                <a:xfrm>
                  <a:off x="2755900" y="4203700"/>
                  <a:ext cx="77788" cy="79375"/>
                </a:xfrm>
                <a:prstGeom prst="ellipse">
                  <a:avLst/>
                </a:prstGeom>
                <a:gradFill rotWithShape="1">
                  <a:gsLst>
                    <a:gs pos="0">
                      <a:srgbClr val="458196"/>
                    </a:gs>
                    <a:gs pos="79999">
                      <a:srgbClr val="5BA9C5"/>
                    </a:gs>
                    <a:gs pos="100000">
                      <a:srgbClr val="5AABC8"/>
                    </a:gs>
                  </a:gsLst>
                  <a:lin ang="5400000" scaled="1"/>
                </a:gradFill>
                <a:ln w="9525">
                  <a:solidFill>
                    <a:srgbClr val="6CAAC0"/>
                  </a:solidFill>
                  <a:round/>
                  <a:headEnd/>
                  <a:tailEnd/>
                </a:ln>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87" name="椭圆 128"/>
                <p:cNvSpPr>
                  <a:spLocks noChangeArrowheads="1"/>
                </p:cNvSpPr>
                <p:nvPr/>
              </p:nvSpPr>
              <p:spPr bwMode="auto">
                <a:xfrm>
                  <a:off x="3347710" y="4505324"/>
                  <a:ext cx="77788" cy="79375"/>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90" name="椭圆 128"/>
                <p:cNvSpPr>
                  <a:spLocks noChangeArrowheads="1"/>
                </p:cNvSpPr>
                <p:nvPr/>
              </p:nvSpPr>
              <p:spPr bwMode="auto">
                <a:xfrm>
                  <a:off x="2966017" y="3507760"/>
                  <a:ext cx="77788" cy="79375"/>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grpSp>
          <p:sp>
            <p:nvSpPr>
              <p:cNvPr id="160" name="椭圆 128"/>
              <p:cNvSpPr>
                <a:spLocks noChangeArrowheads="1"/>
              </p:cNvSpPr>
              <p:nvPr/>
            </p:nvSpPr>
            <p:spPr bwMode="auto">
              <a:xfrm>
                <a:off x="6588224" y="4123609"/>
                <a:ext cx="78469" cy="79341"/>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61" name="椭圆 128"/>
              <p:cNvSpPr>
                <a:spLocks noChangeArrowheads="1"/>
              </p:cNvSpPr>
              <p:nvPr/>
            </p:nvSpPr>
            <p:spPr bwMode="auto">
              <a:xfrm>
                <a:off x="7085819" y="2281436"/>
                <a:ext cx="78469" cy="79341"/>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62" name="椭圆 128"/>
              <p:cNvSpPr>
                <a:spLocks noChangeArrowheads="1"/>
              </p:cNvSpPr>
              <p:nvPr/>
            </p:nvSpPr>
            <p:spPr bwMode="auto">
              <a:xfrm>
                <a:off x="4277507" y="2706151"/>
                <a:ext cx="78469" cy="79341"/>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63" name="椭圆 128"/>
              <p:cNvSpPr>
                <a:spLocks noChangeArrowheads="1"/>
              </p:cNvSpPr>
              <p:nvPr/>
            </p:nvSpPr>
            <p:spPr bwMode="auto">
              <a:xfrm>
                <a:off x="4853571" y="3210207"/>
                <a:ext cx="78469" cy="79341"/>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64" name="椭圆 128"/>
              <p:cNvSpPr>
                <a:spLocks noChangeArrowheads="1"/>
              </p:cNvSpPr>
              <p:nvPr/>
            </p:nvSpPr>
            <p:spPr bwMode="auto">
              <a:xfrm>
                <a:off x="5436096" y="3354223"/>
                <a:ext cx="78469" cy="79341"/>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65" name="椭圆 128"/>
              <p:cNvSpPr>
                <a:spLocks noChangeArrowheads="1"/>
              </p:cNvSpPr>
              <p:nvPr/>
            </p:nvSpPr>
            <p:spPr bwMode="auto">
              <a:xfrm>
                <a:off x="5220072" y="3937620"/>
                <a:ext cx="78466" cy="79341"/>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66" name="椭圆 128"/>
              <p:cNvSpPr>
                <a:spLocks noChangeArrowheads="1"/>
              </p:cNvSpPr>
              <p:nvPr/>
            </p:nvSpPr>
            <p:spPr bwMode="auto">
              <a:xfrm>
                <a:off x="5429638" y="3714263"/>
                <a:ext cx="78466" cy="79341"/>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67" name="椭圆 128"/>
              <p:cNvSpPr>
                <a:spLocks noChangeArrowheads="1"/>
              </p:cNvSpPr>
              <p:nvPr/>
            </p:nvSpPr>
            <p:spPr bwMode="auto">
              <a:xfrm>
                <a:off x="6005702" y="4009628"/>
                <a:ext cx="78466" cy="79341"/>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68" name="椭圆 128"/>
              <p:cNvSpPr>
                <a:spLocks noChangeArrowheads="1"/>
              </p:cNvSpPr>
              <p:nvPr/>
            </p:nvSpPr>
            <p:spPr bwMode="auto">
              <a:xfrm>
                <a:off x="6012160" y="4146311"/>
                <a:ext cx="78466" cy="79341"/>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69" name="椭圆 128"/>
              <p:cNvSpPr>
                <a:spLocks noChangeArrowheads="1"/>
              </p:cNvSpPr>
              <p:nvPr/>
            </p:nvSpPr>
            <p:spPr bwMode="auto">
              <a:xfrm>
                <a:off x="6084168" y="3505572"/>
                <a:ext cx="78466" cy="79341"/>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70" name="椭圆 128"/>
              <p:cNvSpPr>
                <a:spLocks noChangeArrowheads="1"/>
              </p:cNvSpPr>
              <p:nvPr/>
            </p:nvSpPr>
            <p:spPr bwMode="auto">
              <a:xfrm>
                <a:off x="6804248" y="2713484"/>
                <a:ext cx="79375" cy="79375"/>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71" name="椭圆 128"/>
              <p:cNvSpPr>
                <a:spLocks noChangeArrowheads="1"/>
              </p:cNvSpPr>
              <p:nvPr/>
            </p:nvSpPr>
            <p:spPr bwMode="auto">
              <a:xfrm>
                <a:off x="6618526" y="3259639"/>
                <a:ext cx="78466" cy="79341"/>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72" name="椭圆 128"/>
              <p:cNvSpPr>
                <a:spLocks noChangeArrowheads="1"/>
              </p:cNvSpPr>
              <p:nvPr/>
            </p:nvSpPr>
            <p:spPr bwMode="auto">
              <a:xfrm>
                <a:off x="6509758" y="3289548"/>
                <a:ext cx="78466" cy="79341"/>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73" name="椭圆 128"/>
              <p:cNvSpPr>
                <a:spLocks noChangeArrowheads="1"/>
              </p:cNvSpPr>
              <p:nvPr/>
            </p:nvSpPr>
            <p:spPr bwMode="auto">
              <a:xfrm>
                <a:off x="6365742" y="3289548"/>
                <a:ext cx="78466" cy="79341"/>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74" name="椭圆 128"/>
              <p:cNvSpPr>
                <a:spLocks noChangeArrowheads="1"/>
              </p:cNvSpPr>
              <p:nvPr/>
            </p:nvSpPr>
            <p:spPr bwMode="auto">
              <a:xfrm>
                <a:off x="6293734" y="4369668"/>
                <a:ext cx="78466" cy="79341"/>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75" name="椭圆 128"/>
              <p:cNvSpPr>
                <a:spLocks noChangeArrowheads="1"/>
              </p:cNvSpPr>
              <p:nvPr/>
            </p:nvSpPr>
            <p:spPr bwMode="auto">
              <a:xfrm>
                <a:off x="6228184" y="3138199"/>
                <a:ext cx="78466" cy="79341"/>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sp>
            <p:nvSpPr>
              <p:cNvPr id="176" name="椭圆 128"/>
              <p:cNvSpPr>
                <a:spLocks noChangeArrowheads="1"/>
              </p:cNvSpPr>
              <p:nvPr/>
            </p:nvSpPr>
            <p:spPr bwMode="auto">
              <a:xfrm>
                <a:off x="5901069" y="4762728"/>
                <a:ext cx="78466" cy="79341"/>
              </a:xfrm>
              <a:prstGeom prst="ellipse">
                <a:avLst/>
              </a:prstGeom>
              <a:gradFill rotWithShape="1">
                <a:gsLst>
                  <a:gs pos="0">
                    <a:srgbClr val="458196"/>
                  </a:gs>
                  <a:gs pos="79999">
                    <a:srgbClr val="5BA9C5"/>
                  </a:gs>
                  <a:gs pos="100000">
                    <a:srgbClr val="5AABC8"/>
                  </a:gs>
                </a:gsLst>
                <a:lin ang="16200000" scaled="1"/>
              </a:gradFill>
              <a:ln w="9525">
                <a:solidFill>
                  <a:srgbClr val="6CAAC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a:buFont typeface="Arial" charset="0"/>
                  <a:buNone/>
                </a:pPr>
                <a:endParaRPr lang="zh-CN" altLang="zh-CN" sz="1200">
                  <a:solidFill>
                    <a:srgbClr val="FFFFFF"/>
                  </a:solidFill>
                  <a:latin typeface="微软雅黑" pitchFamily="34" charset="-122"/>
                  <a:ea typeface="微软雅黑" pitchFamily="34" charset="-122"/>
                  <a:sym typeface="微软雅黑" pitchFamily="34" charset="-122"/>
                </a:endParaRPr>
              </a:p>
            </p:txBody>
          </p:sp>
        </p:grpSp>
        <p:pic>
          <p:nvPicPr>
            <p:cNvPr id="3077"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16273" y="1973138"/>
              <a:ext cx="1049596" cy="772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2" name="组合 11"/>
            <p:cNvGrpSpPr/>
            <p:nvPr/>
          </p:nvGrpSpPr>
          <p:grpSpPr>
            <a:xfrm>
              <a:off x="4553264" y="949424"/>
              <a:ext cx="1996747" cy="1182479"/>
              <a:chOff x="5784421" y="2934953"/>
              <a:chExt cx="1996747" cy="1182479"/>
            </a:xfrm>
          </p:grpSpPr>
          <p:pic>
            <p:nvPicPr>
              <p:cNvPr id="105"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84421" y="2934953"/>
                <a:ext cx="1630576" cy="11824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7" name="直接连接符 106"/>
              <p:cNvCxnSpPr/>
              <p:nvPr/>
            </p:nvCxnSpPr>
            <p:spPr>
              <a:xfrm>
                <a:off x="6989080" y="3412920"/>
                <a:ext cx="79208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17" name="直接连接符 16"/>
            <p:cNvCxnSpPr/>
            <p:nvPr/>
          </p:nvCxnSpPr>
          <p:spPr>
            <a:xfrm>
              <a:off x="6550011" y="1427391"/>
              <a:ext cx="0" cy="14883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5" name="直接连接符 114"/>
            <p:cNvCxnSpPr/>
            <p:nvPr/>
          </p:nvCxnSpPr>
          <p:spPr>
            <a:xfrm>
              <a:off x="4196295" y="3588914"/>
              <a:ext cx="0" cy="74419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7" name="直接连接符 116"/>
            <p:cNvCxnSpPr/>
            <p:nvPr/>
          </p:nvCxnSpPr>
          <p:spPr>
            <a:xfrm flipH="1">
              <a:off x="4196295" y="3590783"/>
              <a:ext cx="88853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3" name="直接连接符 122"/>
            <p:cNvCxnSpPr/>
            <p:nvPr/>
          </p:nvCxnSpPr>
          <p:spPr>
            <a:xfrm>
              <a:off x="8128839" y="2758139"/>
              <a:ext cx="0" cy="8679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4" name="直接连接符 123"/>
            <p:cNvCxnSpPr/>
            <p:nvPr/>
          </p:nvCxnSpPr>
          <p:spPr>
            <a:xfrm flipH="1">
              <a:off x="6490397" y="3616648"/>
              <a:ext cx="1632100" cy="186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7" name="直接连接符 176"/>
            <p:cNvCxnSpPr/>
            <p:nvPr/>
          </p:nvCxnSpPr>
          <p:spPr>
            <a:xfrm>
              <a:off x="6235510" y="3968604"/>
              <a:ext cx="0" cy="74419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8" name="直接连接符 177"/>
            <p:cNvCxnSpPr/>
            <p:nvPr/>
          </p:nvCxnSpPr>
          <p:spPr>
            <a:xfrm flipH="1">
              <a:off x="6230230" y="4706599"/>
              <a:ext cx="88853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676865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5"/>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697135" y="580828"/>
            <a:ext cx="1858643" cy="692475"/>
          </a:xfrm>
          <a:prstGeom prst="rect">
            <a:avLst/>
          </a:prstGeom>
          <a:noFill/>
        </p:spPr>
        <p:txBody>
          <a:bodyPr wrap="square" lIns="91419" tIns="45709" rIns="91419" bIns="45709" rtlCol="0">
            <a:spAutoFit/>
          </a:bodyPr>
          <a:lstStyle/>
          <a:p>
            <a:r>
              <a:rPr lang="zh-CN" altLang="en-US" sz="2100" b="1" dirty="0">
                <a:solidFill>
                  <a:srgbClr val="C00000"/>
                </a:solidFill>
                <a:latin typeface="微软雅黑" pitchFamily="34" charset="-122"/>
                <a:ea typeface="微软雅黑" pitchFamily="34" charset="-122"/>
              </a:rPr>
              <a:t>目 录</a:t>
            </a:r>
            <a:endParaRPr lang="en-US" altLang="zh-CN" sz="2100" b="1" dirty="0">
              <a:solidFill>
                <a:srgbClr val="C00000"/>
              </a:solidFill>
              <a:latin typeface="微软雅黑" pitchFamily="34" charset="-122"/>
              <a:ea typeface="微软雅黑" pitchFamily="34" charset="-122"/>
            </a:endParaRPr>
          </a:p>
          <a:p>
            <a:r>
              <a:rPr lang="en-US" altLang="zh-CN" b="1" dirty="0" smtClean="0">
                <a:solidFill>
                  <a:srgbClr val="C00000"/>
                </a:solidFill>
                <a:latin typeface="微软雅黑" pitchFamily="34" charset="-122"/>
                <a:ea typeface="微软雅黑" pitchFamily="34" charset="-122"/>
              </a:rPr>
              <a:t>CONTENTS</a:t>
            </a:r>
            <a:endParaRPr lang="zh-CN" altLang="en-US" b="1" dirty="0">
              <a:solidFill>
                <a:srgbClr val="C00000"/>
              </a:solidFill>
              <a:latin typeface="微软雅黑" pitchFamily="34" charset="-122"/>
              <a:ea typeface="微软雅黑" pitchFamily="34" charset="-122"/>
            </a:endParaRPr>
          </a:p>
        </p:txBody>
      </p:sp>
      <p:sp>
        <p:nvSpPr>
          <p:cNvPr id="6"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grpSp>
        <p:nvGrpSpPr>
          <p:cNvPr id="9" name="组合 8"/>
          <p:cNvGrpSpPr/>
          <p:nvPr/>
        </p:nvGrpSpPr>
        <p:grpSpPr>
          <a:xfrm>
            <a:off x="6127" y="1783871"/>
            <a:ext cx="9144000" cy="2952328"/>
            <a:chOff x="0" y="1783871"/>
            <a:chExt cx="9144000" cy="2952328"/>
          </a:xfrm>
        </p:grpSpPr>
        <p:sp>
          <p:nvSpPr>
            <p:cNvPr id="10" name="平行四边形 9"/>
            <p:cNvSpPr/>
            <p:nvPr/>
          </p:nvSpPr>
          <p:spPr>
            <a:xfrm>
              <a:off x="0" y="1783871"/>
              <a:ext cx="3312368" cy="2952328"/>
            </a:xfrm>
            <a:prstGeom prst="parallelogram">
              <a:avLst>
                <a:gd name="adj" fmla="val 0"/>
              </a:avLst>
            </a:prstGeom>
            <a:gradFill>
              <a:gsLst>
                <a:gs pos="49000">
                  <a:schemeClr val="tx2">
                    <a:alpha val="28000"/>
                    <a:lumMod val="43000"/>
                    <a:lumOff val="57000"/>
                  </a:schemeClr>
                </a:gs>
                <a:gs pos="0">
                  <a:schemeClr val="tx2">
                    <a:lumMod val="40000"/>
                    <a:lumOff val="60000"/>
                  </a:schemeClr>
                </a:gs>
                <a:gs pos="100000">
                  <a:schemeClr val="accent1">
                    <a:lumMod val="40000"/>
                    <a:lumOff val="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平行四边形 11"/>
            <p:cNvSpPr/>
            <p:nvPr/>
          </p:nvSpPr>
          <p:spPr>
            <a:xfrm>
              <a:off x="2123728" y="1783871"/>
              <a:ext cx="4536504" cy="2952328"/>
            </a:xfrm>
            <a:prstGeom prst="parallelogram">
              <a:avLst>
                <a:gd name="adj" fmla="val 22877"/>
              </a:avLst>
            </a:prstGeom>
            <a:gradFill>
              <a:gsLst>
                <a:gs pos="49000">
                  <a:schemeClr val="tx2">
                    <a:alpha val="28000"/>
                    <a:lumMod val="43000"/>
                    <a:lumOff val="57000"/>
                  </a:schemeClr>
                </a:gs>
                <a:gs pos="0">
                  <a:schemeClr val="tx2">
                    <a:lumMod val="40000"/>
                    <a:lumOff val="60000"/>
                  </a:schemeClr>
                </a:gs>
                <a:gs pos="100000">
                  <a:schemeClr val="accent1">
                    <a:lumMod val="40000"/>
                    <a:lumOff val="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平行四边形 12"/>
            <p:cNvSpPr/>
            <p:nvPr/>
          </p:nvSpPr>
          <p:spPr>
            <a:xfrm>
              <a:off x="4427983" y="1783871"/>
              <a:ext cx="4716017" cy="2952328"/>
            </a:xfrm>
            <a:prstGeom prst="parallelogram">
              <a:avLst>
                <a:gd name="adj" fmla="val 0"/>
              </a:avLst>
            </a:prstGeom>
            <a:gradFill>
              <a:gsLst>
                <a:gs pos="49000">
                  <a:schemeClr val="tx2">
                    <a:lumMod val="43000"/>
                    <a:lumOff val="57000"/>
                    <a:alpha val="13000"/>
                  </a:schemeClr>
                </a:gs>
                <a:gs pos="0">
                  <a:schemeClr val="tx2">
                    <a:lumMod val="40000"/>
                    <a:lumOff val="60000"/>
                  </a:schemeClr>
                </a:gs>
                <a:gs pos="100000">
                  <a:schemeClr val="accent1">
                    <a:lumMod val="40000"/>
                    <a:lumOff val="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平行四边形 13"/>
            <p:cNvSpPr/>
            <p:nvPr/>
          </p:nvSpPr>
          <p:spPr>
            <a:xfrm>
              <a:off x="6984776" y="3098599"/>
              <a:ext cx="1224136" cy="1637600"/>
            </a:xfrm>
            <a:prstGeom prst="parallelogram">
              <a:avLst>
                <a:gd name="adj" fmla="val 46398"/>
              </a:avLst>
            </a:prstGeom>
            <a:solidFill>
              <a:schemeClr val="tx2">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平行四边形 14"/>
            <p:cNvSpPr/>
            <p:nvPr/>
          </p:nvSpPr>
          <p:spPr>
            <a:xfrm>
              <a:off x="7741337" y="3649588"/>
              <a:ext cx="935121" cy="1086611"/>
            </a:xfrm>
            <a:prstGeom prst="parallelogram">
              <a:avLst>
                <a:gd name="adj" fmla="val 39525"/>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平行四边形 15"/>
            <p:cNvSpPr/>
            <p:nvPr/>
          </p:nvSpPr>
          <p:spPr>
            <a:xfrm>
              <a:off x="8386014" y="3961831"/>
              <a:ext cx="719097" cy="735395"/>
            </a:xfrm>
            <a:prstGeom prst="parallelogram">
              <a:avLst>
                <a:gd name="adj" fmla="val 3472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TextBox 16"/>
            <p:cNvSpPr txBox="1"/>
            <p:nvPr/>
          </p:nvSpPr>
          <p:spPr>
            <a:xfrm>
              <a:off x="3491878" y="2120052"/>
              <a:ext cx="1872210" cy="630942"/>
            </a:xfrm>
            <a:prstGeom prst="rect">
              <a:avLst/>
            </a:prstGeom>
            <a:noFill/>
          </p:spPr>
          <p:txBody>
            <a:bodyPr wrap="square" rtlCol="0">
              <a:spAutoFit/>
            </a:bodyPr>
            <a:lstStyle/>
            <a:p>
              <a:pPr algn="ctr"/>
              <a:r>
                <a:rPr lang="zh-CN" altLang="en-US" sz="2100" b="1" dirty="0">
                  <a:solidFill>
                    <a:schemeClr val="accent1">
                      <a:lumMod val="75000"/>
                    </a:schemeClr>
                  </a:solidFill>
                  <a:latin typeface="微软雅黑" pitchFamily="34" charset="-122"/>
                  <a:ea typeface="微软雅黑" pitchFamily="34" charset="-122"/>
                </a:rPr>
                <a:t>公司介绍</a:t>
              </a:r>
              <a:endParaRPr lang="en-US" altLang="zh-CN" sz="2100" b="1" dirty="0">
                <a:solidFill>
                  <a:schemeClr val="accent1">
                    <a:lumMod val="75000"/>
                  </a:schemeClr>
                </a:solidFill>
                <a:latin typeface="微软雅黑" pitchFamily="34" charset="-122"/>
                <a:ea typeface="微软雅黑" pitchFamily="34" charset="-122"/>
              </a:endParaRPr>
            </a:p>
            <a:p>
              <a:pPr algn="ctr"/>
              <a:r>
                <a:rPr lang="en-US" altLang="zh-CN" sz="1400" b="1" dirty="0">
                  <a:solidFill>
                    <a:schemeClr val="accent1">
                      <a:lumMod val="75000"/>
                    </a:schemeClr>
                  </a:solidFill>
                  <a:latin typeface="微软雅黑" pitchFamily="34" charset="-122"/>
                  <a:ea typeface="微软雅黑" pitchFamily="34" charset="-122"/>
                  <a:cs typeface="Arial" pitchFamily="34" charset="0"/>
                  <a:sym typeface="黑体" pitchFamily="49" charset="-122"/>
                </a:rPr>
                <a:t>ABOUT CAPSA</a:t>
              </a:r>
              <a:endParaRPr lang="en-US" altLang="zh-CN" sz="1600" b="1" dirty="0">
                <a:solidFill>
                  <a:schemeClr val="accent1">
                    <a:lumMod val="75000"/>
                  </a:schemeClr>
                </a:solidFill>
                <a:latin typeface="微软雅黑" pitchFamily="34" charset="-122"/>
                <a:ea typeface="微软雅黑" pitchFamily="34" charset="-122"/>
              </a:endParaRPr>
            </a:p>
          </p:txBody>
        </p:sp>
      </p:grpSp>
      <p:sp>
        <p:nvSpPr>
          <p:cNvPr id="18" name="TextBox 17"/>
          <p:cNvSpPr txBox="1"/>
          <p:nvPr/>
        </p:nvSpPr>
        <p:spPr>
          <a:xfrm>
            <a:off x="1273195" y="2929508"/>
            <a:ext cx="1512170" cy="492420"/>
          </a:xfrm>
          <a:prstGeom prst="rect">
            <a:avLst/>
          </a:prstGeom>
          <a:noFill/>
        </p:spPr>
        <p:txBody>
          <a:bodyPr wrap="square" lIns="91419" tIns="45709" rIns="91419" bIns="45709" rtlCol="0">
            <a:spAutoFit/>
          </a:bodyPr>
          <a:lstStyle/>
          <a:p>
            <a:pPr algn="ctr"/>
            <a:r>
              <a:rPr lang="zh-CN" altLang="en-US" sz="1400" b="1" dirty="0">
                <a:solidFill>
                  <a:schemeClr val="accent1">
                    <a:lumMod val="75000"/>
                  </a:schemeClr>
                </a:solidFill>
                <a:latin typeface="微软雅黑" pitchFamily="34" charset="-122"/>
                <a:ea typeface="微软雅黑" pitchFamily="34" charset="-122"/>
                <a:cs typeface="Arial" pitchFamily="34" charset="0"/>
                <a:sym typeface="黑体" pitchFamily="49" charset="-122"/>
              </a:rPr>
              <a:t>企业简介</a:t>
            </a:r>
            <a:endParaRPr lang="en-US" altLang="zh-CN" sz="1400" b="1" dirty="0">
              <a:solidFill>
                <a:schemeClr val="accent1">
                  <a:lumMod val="75000"/>
                </a:schemeClr>
              </a:solidFill>
              <a:latin typeface="微软雅黑" pitchFamily="34" charset="-122"/>
              <a:ea typeface="微软雅黑" pitchFamily="34" charset="-122"/>
              <a:cs typeface="Arial" pitchFamily="34" charset="0"/>
              <a:sym typeface="黑体" pitchFamily="49" charset="-122"/>
            </a:endParaRPr>
          </a:p>
          <a:p>
            <a:pPr algn="ctr"/>
            <a:r>
              <a:rPr lang="en-US" altLang="zh-CN" sz="1200" dirty="0">
                <a:solidFill>
                  <a:schemeClr val="accent1">
                    <a:lumMod val="75000"/>
                  </a:schemeClr>
                </a:solidFill>
                <a:latin typeface="微软雅黑" pitchFamily="34" charset="-122"/>
                <a:ea typeface="微软雅黑" pitchFamily="34" charset="-122"/>
                <a:cs typeface="Arial" pitchFamily="34" charset="0"/>
                <a:sym typeface="黑体" pitchFamily="49" charset="-122"/>
              </a:rPr>
              <a:t>CAPSA Profile</a:t>
            </a:r>
          </a:p>
        </p:txBody>
      </p:sp>
      <p:sp>
        <p:nvSpPr>
          <p:cNvPr id="20" name="TextBox 19"/>
          <p:cNvSpPr txBox="1"/>
          <p:nvPr/>
        </p:nvSpPr>
        <p:spPr>
          <a:xfrm>
            <a:off x="2699790" y="2929508"/>
            <a:ext cx="1872210" cy="492420"/>
          </a:xfrm>
          <a:prstGeom prst="rect">
            <a:avLst/>
          </a:prstGeom>
          <a:noFill/>
        </p:spPr>
        <p:txBody>
          <a:bodyPr wrap="square" lIns="91419" tIns="45709" rIns="91419" bIns="45709" rtlCol="0">
            <a:spAutoFit/>
          </a:bodyPr>
          <a:lstStyle/>
          <a:p>
            <a:pPr algn="ctr"/>
            <a:r>
              <a:rPr lang="zh-CN" altLang="en-US" sz="1400" b="1" dirty="0">
                <a:solidFill>
                  <a:schemeClr val="accent1">
                    <a:lumMod val="75000"/>
                  </a:schemeClr>
                </a:solidFill>
                <a:latin typeface="微软雅黑" pitchFamily="34" charset="-122"/>
                <a:ea typeface="微软雅黑" pitchFamily="34" charset="-122"/>
                <a:cs typeface="Arial" pitchFamily="34" charset="0"/>
                <a:sym typeface="黑体" pitchFamily="49" charset="-122"/>
              </a:rPr>
              <a:t>发展历程</a:t>
            </a:r>
            <a:endParaRPr lang="en-US" altLang="zh-CN" sz="1400" b="1" dirty="0">
              <a:solidFill>
                <a:schemeClr val="accent1">
                  <a:lumMod val="75000"/>
                </a:schemeClr>
              </a:solidFill>
              <a:latin typeface="微软雅黑" pitchFamily="34" charset="-122"/>
              <a:ea typeface="微软雅黑" pitchFamily="34" charset="-122"/>
              <a:cs typeface="Arial" pitchFamily="34" charset="0"/>
              <a:sym typeface="黑体" pitchFamily="49" charset="-122"/>
            </a:endParaRPr>
          </a:p>
          <a:p>
            <a:pPr algn="ctr"/>
            <a:r>
              <a:rPr lang="en-US" altLang="zh-CN" sz="1200" dirty="0">
                <a:solidFill>
                  <a:schemeClr val="accent1">
                    <a:lumMod val="75000"/>
                  </a:schemeClr>
                </a:solidFill>
                <a:latin typeface="微软雅黑" pitchFamily="34" charset="-122"/>
                <a:ea typeface="微软雅黑" pitchFamily="34" charset="-122"/>
                <a:cs typeface="Arial" pitchFamily="34" charset="0"/>
                <a:sym typeface="黑体" pitchFamily="49" charset="-122"/>
              </a:rPr>
              <a:t>CAPSA Milestones</a:t>
            </a:r>
          </a:p>
        </p:txBody>
      </p:sp>
      <p:sp>
        <p:nvSpPr>
          <p:cNvPr id="21" name="TextBox 20"/>
          <p:cNvSpPr txBox="1"/>
          <p:nvPr/>
        </p:nvSpPr>
        <p:spPr>
          <a:xfrm>
            <a:off x="4306911" y="2929508"/>
            <a:ext cx="1872210" cy="492420"/>
          </a:xfrm>
          <a:prstGeom prst="rect">
            <a:avLst/>
          </a:prstGeom>
          <a:noFill/>
        </p:spPr>
        <p:txBody>
          <a:bodyPr wrap="square" lIns="91419" tIns="45709" rIns="91419" bIns="45709" rtlCol="0">
            <a:spAutoFit/>
          </a:bodyPr>
          <a:lstStyle/>
          <a:p>
            <a:pPr algn="ctr"/>
            <a:r>
              <a:rPr lang="zh-CN" altLang="en-US" sz="1400" b="1" dirty="0">
                <a:solidFill>
                  <a:schemeClr val="accent1">
                    <a:lumMod val="75000"/>
                  </a:schemeClr>
                </a:solidFill>
                <a:latin typeface="微软雅黑" pitchFamily="34" charset="-122"/>
                <a:ea typeface="微软雅黑" pitchFamily="34" charset="-122"/>
                <a:cs typeface="Arial" pitchFamily="34" charset="0"/>
                <a:sym typeface="黑体" pitchFamily="49" charset="-122"/>
              </a:rPr>
              <a:t>组织架构</a:t>
            </a:r>
            <a:endParaRPr lang="en-US" altLang="zh-CN" sz="1400" b="1" dirty="0">
              <a:solidFill>
                <a:schemeClr val="accent1">
                  <a:lumMod val="75000"/>
                </a:schemeClr>
              </a:solidFill>
              <a:latin typeface="微软雅黑" pitchFamily="34" charset="-122"/>
              <a:ea typeface="微软雅黑" pitchFamily="34" charset="-122"/>
              <a:cs typeface="Arial" pitchFamily="34" charset="0"/>
              <a:sym typeface="黑体" pitchFamily="49" charset="-122"/>
            </a:endParaRPr>
          </a:p>
          <a:p>
            <a:pPr algn="ctr"/>
            <a:r>
              <a:rPr lang="en-US" altLang="zh-CN" sz="1200" dirty="0">
                <a:solidFill>
                  <a:schemeClr val="accent1">
                    <a:lumMod val="75000"/>
                  </a:schemeClr>
                </a:solidFill>
                <a:latin typeface="微软雅黑" pitchFamily="34" charset="-122"/>
                <a:ea typeface="微软雅黑" pitchFamily="34" charset="-122"/>
                <a:cs typeface="Arial" pitchFamily="34" charset="0"/>
                <a:sym typeface="黑体" pitchFamily="49" charset="-122"/>
              </a:rPr>
              <a:t>Organization</a:t>
            </a:r>
          </a:p>
        </p:txBody>
      </p:sp>
      <p:sp>
        <p:nvSpPr>
          <p:cNvPr id="22" name="TextBox 21"/>
          <p:cNvSpPr txBox="1"/>
          <p:nvPr/>
        </p:nvSpPr>
        <p:spPr>
          <a:xfrm>
            <a:off x="5868142" y="2929508"/>
            <a:ext cx="1872210" cy="492420"/>
          </a:xfrm>
          <a:prstGeom prst="rect">
            <a:avLst/>
          </a:prstGeom>
          <a:noFill/>
        </p:spPr>
        <p:txBody>
          <a:bodyPr wrap="square" lIns="91419" tIns="45709" rIns="91419" bIns="45709" rtlCol="0">
            <a:spAutoFit/>
          </a:bodyPr>
          <a:lstStyle/>
          <a:p>
            <a:pPr algn="ctr"/>
            <a:r>
              <a:rPr lang="zh-CN" altLang="en-US" sz="1400" b="1" dirty="0">
                <a:solidFill>
                  <a:schemeClr val="accent1">
                    <a:lumMod val="75000"/>
                  </a:schemeClr>
                </a:solidFill>
                <a:latin typeface="微软雅黑" pitchFamily="34" charset="-122"/>
                <a:ea typeface="微软雅黑" pitchFamily="34" charset="-122"/>
                <a:cs typeface="Arial" pitchFamily="34" charset="0"/>
                <a:sym typeface="黑体" pitchFamily="49" charset="-122"/>
              </a:rPr>
              <a:t>生产基地</a:t>
            </a:r>
            <a:endParaRPr lang="en-US" altLang="zh-CN" sz="1400" b="1" dirty="0">
              <a:solidFill>
                <a:schemeClr val="accent1">
                  <a:lumMod val="75000"/>
                </a:schemeClr>
              </a:solidFill>
              <a:latin typeface="微软雅黑" pitchFamily="34" charset="-122"/>
              <a:ea typeface="微软雅黑" pitchFamily="34" charset="-122"/>
              <a:cs typeface="Arial" pitchFamily="34" charset="0"/>
              <a:sym typeface="黑体" pitchFamily="49" charset="-122"/>
            </a:endParaRPr>
          </a:p>
          <a:p>
            <a:pPr algn="ctr"/>
            <a:r>
              <a:rPr lang="en-US" altLang="zh-CN" sz="1200" dirty="0">
                <a:solidFill>
                  <a:schemeClr val="accent1">
                    <a:lumMod val="75000"/>
                  </a:schemeClr>
                </a:solidFill>
                <a:latin typeface="微软雅黑" pitchFamily="34" charset="-122"/>
                <a:ea typeface="微软雅黑" pitchFamily="34" charset="-122"/>
                <a:cs typeface="Arial" pitchFamily="34" charset="0"/>
                <a:sym typeface="MS PGothic" pitchFamily="34" charset="-128"/>
              </a:rPr>
              <a:t>Production </a:t>
            </a:r>
            <a:r>
              <a:rPr lang="en-US" altLang="zh-CN" sz="1200" dirty="0">
                <a:solidFill>
                  <a:schemeClr val="accent1">
                    <a:lumMod val="75000"/>
                  </a:schemeClr>
                </a:solidFill>
                <a:latin typeface="微软雅黑" pitchFamily="34" charset="-122"/>
                <a:ea typeface="微软雅黑" pitchFamily="34" charset="-122"/>
                <a:cs typeface="Arial" pitchFamily="34" charset="0"/>
                <a:sym typeface="黑体" pitchFamily="49" charset="-122"/>
              </a:rPr>
              <a:t>Plant</a:t>
            </a:r>
          </a:p>
        </p:txBody>
      </p:sp>
      <p:sp>
        <p:nvSpPr>
          <p:cNvPr id="24" name="菱形 23"/>
          <p:cNvSpPr/>
          <p:nvPr/>
        </p:nvSpPr>
        <p:spPr>
          <a:xfrm>
            <a:off x="2921554" y="3891790"/>
            <a:ext cx="3012863" cy="45719"/>
          </a:xfrm>
          <a:prstGeom prst="diamond">
            <a:avLst/>
          </a:prstGeom>
          <a:gradFill>
            <a:gsLst>
              <a:gs pos="0">
                <a:schemeClr val="tx2">
                  <a:lumMod val="20000"/>
                  <a:lumOff val="80000"/>
                </a:schemeClr>
              </a:gs>
              <a:gs pos="50000">
                <a:schemeClr val="tx2">
                  <a:lumMod val="60000"/>
                  <a:lumOff val="40000"/>
                </a:schemeClr>
              </a:gs>
              <a:gs pos="100000">
                <a:schemeClr val="tx2">
                  <a:lumMod val="20000"/>
                  <a:lumOff val="8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9" tIns="45709" rIns="91419" bIns="45709" rtlCol="0" anchor="ctr"/>
          <a:lstStyle/>
          <a:p>
            <a:pPr algn="ctr"/>
            <a:endParaRPr lang="zh-CN" altLang="en-US"/>
          </a:p>
        </p:txBody>
      </p:sp>
    </p:spTree>
    <p:extLst>
      <p:ext uri="{BB962C8B-B14F-4D97-AF65-F5344CB8AC3E}">
        <p14:creationId xmlns:p14="http://schemas.microsoft.com/office/powerpoint/2010/main" val="24922091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5"/>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697135" y="580049"/>
            <a:ext cx="1858643" cy="677086"/>
          </a:xfrm>
          <a:prstGeom prst="rect">
            <a:avLst/>
          </a:prstGeom>
          <a:noFill/>
        </p:spPr>
        <p:txBody>
          <a:bodyPr wrap="square" lIns="91419" tIns="45709" rIns="91419" bIns="45709" rtlCol="0">
            <a:spAutoFit/>
          </a:bodyPr>
          <a:lstStyle/>
          <a:p>
            <a:r>
              <a:rPr lang="zh-CN" altLang="en-US" sz="2000" b="1" dirty="0">
                <a:solidFill>
                  <a:srgbClr val="C00000"/>
                </a:solidFill>
                <a:latin typeface="微软雅黑" pitchFamily="34" charset="-122"/>
                <a:ea typeface="微软雅黑" pitchFamily="34" charset="-122"/>
              </a:rPr>
              <a:t>企业简介</a:t>
            </a:r>
            <a:endParaRPr lang="en-US" altLang="zh-CN" sz="2000" b="1" dirty="0">
              <a:solidFill>
                <a:srgbClr val="C00000"/>
              </a:solidFill>
              <a:latin typeface="微软雅黑" pitchFamily="34" charset="-122"/>
              <a:ea typeface="微软雅黑" pitchFamily="34" charset="-122"/>
            </a:endParaRPr>
          </a:p>
          <a:p>
            <a:r>
              <a:rPr lang="en-US" altLang="zh-CN" b="1" dirty="0" smtClean="0">
                <a:solidFill>
                  <a:srgbClr val="C00000"/>
                </a:solidFill>
                <a:latin typeface="微软雅黑" pitchFamily="34" charset="-122"/>
                <a:ea typeface="微软雅黑" pitchFamily="34" charset="-122"/>
                <a:sym typeface="黑体" pitchFamily="49" charset="-122"/>
              </a:rPr>
              <a:t>CAPSA </a:t>
            </a:r>
            <a:r>
              <a:rPr lang="en-US" altLang="zh-CN" b="1" dirty="0">
                <a:solidFill>
                  <a:srgbClr val="C00000"/>
                </a:solidFill>
                <a:latin typeface="微软雅黑" pitchFamily="34" charset="-122"/>
                <a:ea typeface="微软雅黑" pitchFamily="34" charset="-122"/>
                <a:sym typeface="黑体" pitchFamily="49" charset="-122"/>
              </a:rPr>
              <a:t>Profile</a:t>
            </a:r>
          </a:p>
        </p:txBody>
      </p:sp>
      <p:sp>
        <p:nvSpPr>
          <p:cNvPr id="6"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pic>
        <p:nvPicPr>
          <p:cNvPr id="8" name="图片 7"/>
          <p:cNvPicPr>
            <a:picLocks noChangeAspect="1"/>
          </p:cNvPicPr>
          <p:nvPr/>
        </p:nvPicPr>
        <p:blipFill rotWithShape="1">
          <a:blip r:embed="rId3" cstate="print">
            <a:extLst>
              <a:ext uri="{28A0092B-C50C-407E-A947-70E740481C1C}">
                <a14:useLocalDpi xmlns:a14="http://schemas.microsoft.com/office/drawing/2010/main" val="0"/>
              </a:ext>
            </a:extLst>
          </a:blip>
          <a:srcRect l="43490" t="27044" r="25343" b="3426"/>
          <a:stretch/>
        </p:blipFill>
        <p:spPr>
          <a:xfrm>
            <a:off x="3431778" y="1728219"/>
            <a:ext cx="2580385" cy="3285753"/>
          </a:xfrm>
          <a:prstGeom prst="rect">
            <a:avLst/>
          </a:prstGeom>
        </p:spPr>
      </p:pic>
      <p:sp>
        <p:nvSpPr>
          <p:cNvPr id="10" name="矩形 9"/>
          <p:cNvSpPr/>
          <p:nvPr/>
        </p:nvSpPr>
        <p:spPr>
          <a:xfrm>
            <a:off x="755579" y="1733924"/>
            <a:ext cx="2550893" cy="2946938"/>
          </a:xfrm>
          <a:prstGeom prst="rect">
            <a:avLst/>
          </a:prstGeom>
        </p:spPr>
        <p:txBody>
          <a:bodyPr wrap="square" lIns="91419" tIns="45709" rIns="91419" bIns="45709">
            <a:spAutoFit/>
          </a:bodyPr>
          <a:lstStyle/>
          <a:p>
            <a:pPr>
              <a:lnSpc>
                <a:spcPct val="150000"/>
              </a:lnSpc>
            </a:pPr>
            <a:r>
              <a:rPr lang="zh-CN" altLang="zh-CN" sz="900" dirty="0">
                <a:latin typeface="微软雅黑" pitchFamily="34" charset="-122"/>
                <a:ea typeface="微软雅黑" pitchFamily="34" charset="-122"/>
              </a:rPr>
              <a:t>长安标致雪铁龙汽车有限公司（中文简称：长安</a:t>
            </a:r>
            <a:r>
              <a:rPr lang="en-US" altLang="zh-CN" sz="900" dirty="0">
                <a:latin typeface="微软雅黑" pitchFamily="34" charset="-122"/>
                <a:ea typeface="微软雅黑" pitchFamily="34" charset="-122"/>
              </a:rPr>
              <a:t>PSA</a:t>
            </a:r>
            <a:r>
              <a:rPr lang="zh-CN" altLang="zh-CN" sz="900" dirty="0">
                <a:latin typeface="微软雅黑" pitchFamily="34" charset="-122"/>
                <a:ea typeface="微软雅黑" pitchFamily="34" charset="-122"/>
              </a:rPr>
              <a:t>），母公司为长安汽车和</a:t>
            </a:r>
            <a:r>
              <a:rPr lang="en-US" altLang="zh-CN" sz="900" dirty="0">
                <a:latin typeface="微软雅黑" pitchFamily="34" charset="-122"/>
                <a:ea typeface="微软雅黑" pitchFamily="34" charset="-122"/>
              </a:rPr>
              <a:t>PSA</a:t>
            </a:r>
            <a:r>
              <a:rPr lang="zh-CN" altLang="zh-CN" sz="900" dirty="0">
                <a:latin typeface="微软雅黑" pitchFamily="34" charset="-122"/>
                <a:ea typeface="微软雅黑" pitchFamily="34" charset="-122"/>
              </a:rPr>
              <a:t>集团，</a:t>
            </a:r>
            <a:r>
              <a:rPr lang="en-US" altLang="zh-CN" sz="900" b="1" dirty="0">
                <a:solidFill>
                  <a:srgbClr val="C00000"/>
                </a:solidFill>
                <a:latin typeface="微软雅黑" pitchFamily="34" charset="-122"/>
                <a:ea typeface="微软雅黑" pitchFamily="34" charset="-122"/>
              </a:rPr>
              <a:t>2011</a:t>
            </a:r>
            <a:r>
              <a:rPr lang="zh-CN" altLang="zh-CN" sz="900" b="1" dirty="0">
                <a:solidFill>
                  <a:srgbClr val="C00000"/>
                </a:solidFill>
                <a:latin typeface="微软雅黑" pitchFamily="34" charset="-122"/>
                <a:ea typeface="微软雅黑" pitchFamily="34" charset="-122"/>
              </a:rPr>
              <a:t>年</a:t>
            </a:r>
            <a:r>
              <a:rPr lang="en-US" altLang="zh-CN" sz="900" b="1" dirty="0">
                <a:solidFill>
                  <a:srgbClr val="C00000"/>
                </a:solidFill>
                <a:latin typeface="微软雅黑" pitchFamily="34" charset="-122"/>
                <a:ea typeface="微软雅黑" pitchFamily="34" charset="-122"/>
              </a:rPr>
              <a:t>11</a:t>
            </a:r>
            <a:r>
              <a:rPr lang="zh-CN" altLang="zh-CN" sz="900" b="1" dirty="0">
                <a:solidFill>
                  <a:srgbClr val="C00000"/>
                </a:solidFill>
                <a:latin typeface="微软雅黑" pitchFamily="34" charset="-122"/>
                <a:ea typeface="微软雅黑" pitchFamily="34" charset="-122"/>
              </a:rPr>
              <a:t>月</a:t>
            </a:r>
            <a:r>
              <a:rPr lang="zh-CN" altLang="zh-CN" sz="900" dirty="0">
                <a:latin typeface="微软雅黑" pitchFamily="34" charset="-122"/>
                <a:ea typeface="微软雅黑" pitchFamily="34" charset="-122"/>
              </a:rPr>
              <a:t>正式成立</a:t>
            </a:r>
            <a:r>
              <a:rPr lang="zh-CN" altLang="en-US" sz="900" dirty="0">
                <a:latin typeface="微软雅黑" pitchFamily="34" charset="-122"/>
                <a:ea typeface="微软雅黑" pitchFamily="34" charset="-122"/>
              </a:rPr>
              <a:t>，总投资</a:t>
            </a:r>
            <a:r>
              <a:rPr lang="en-US" altLang="zh-CN" sz="900" b="1" dirty="0">
                <a:solidFill>
                  <a:srgbClr val="C00000"/>
                </a:solidFill>
                <a:latin typeface="微软雅黑" pitchFamily="34" charset="-122"/>
                <a:ea typeface="微软雅黑" pitchFamily="34" charset="-122"/>
              </a:rPr>
              <a:t>84.25</a:t>
            </a:r>
            <a:r>
              <a:rPr lang="zh-CN" altLang="en-US" sz="900" b="1" dirty="0">
                <a:solidFill>
                  <a:srgbClr val="C00000"/>
                </a:solidFill>
                <a:latin typeface="微软雅黑" pitchFamily="34" charset="-122"/>
                <a:ea typeface="微软雅黑" pitchFamily="34" charset="-122"/>
              </a:rPr>
              <a:t>亿</a:t>
            </a:r>
            <a:r>
              <a:rPr lang="zh-CN" altLang="zh-CN" sz="900" dirty="0">
                <a:latin typeface="微软雅黑" pitchFamily="34" charset="-122"/>
                <a:ea typeface="微软雅黑" pitchFamily="34" charset="-122"/>
              </a:rPr>
              <a:t>。</a:t>
            </a:r>
          </a:p>
          <a:p>
            <a:pPr>
              <a:lnSpc>
                <a:spcPct val="150000"/>
              </a:lnSpc>
              <a:spcBef>
                <a:spcPts val="600"/>
              </a:spcBef>
            </a:pPr>
            <a:r>
              <a:rPr lang="zh-CN" altLang="zh-CN" sz="900" dirty="0">
                <a:latin typeface="微软雅黑" pitchFamily="34" charset="-122"/>
                <a:ea typeface="微软雅黑" pitchFamily="34" charset="-122"/>
              </a:rPr>
              <a:t>作为国内规模较大的现代化汽车生产基地，长安</a:t>
            </a:r>
            <a:r>
              <a:rPr lang="en-US" altLang="zh-CN" sz="900" dirty="0">
                <a:latin typeface="微软雅黑" pitchFamily="34" charset="-122"/>
                <a:ea typeface="微软雅黑" pitchFamily="34" charset="-122"/>
              </a:rPr>
              <a:t>PSA</a:t>
            </a:r>
            <a:r>
              <a:rPr lang="zh-CN" altLang="zh-CN" sz="900" dirty="0">
                <a:latin typeface="微软雅黑" pitchFamily="34" charset="-122"/>
                <a:ea typeface="微软雅黑" pitchFamily="34" charset="-122"/>
              </a:rPr>
              <a:t>深圳基地占地约</a:t>
            </a:r>
            <a:r>
              <a:rPr lang="en-US" altLang="zh-CN" sz="900" b="1" dirty="0">
                <a:solidFill>
                  <a:srgbClr val="C00000"/>
                </a:solidFill>
                <a:latin typeface="微软雅黑" pitchFamily="34" charset="-122"/>
                <a:ea typeface="微软雅黑" pitchFamily="34" charset="-122"/>
              </a:rPr>
              <a:t>130</a:t>
            </a:r>
            <a:r>
              <a:rPr lang="zh-CN" altLang="zh-CN" sz="900" b="1" dirty="0">
                <a:solidFill>
                  <a:srgbClr val="C00000"/>
                </a:solidFill>
                <a:latin typeface="微软雅黑" pitchFamily="34" charset="-122"/>
                <a:ea typeface="微软雅黑" pitchFamily="34" charset="-122"/>
              </a:rPr>
              <a:t>万平方米</a:t>
            </a:r>
            <a:r>
              <a:rPr lang="zh-CN" altLang="zh-CN" sz="900" dirty="0">
                <a:latin typeface="微软雅黑" pitchFamily="34" charset="-122"/>
                <a:ea typeface="微软雅黑" pitchFamily="34" charset="-122"/>
              </a:rPr>
              <a:t>，已建成两个整车工厂和一个发动机工厂，设计年产能</a:t>
            </a:r>
            <a:r>
              <a:rPr lang="en-US" altLang="zh-CN" sz="900" dirty="0">
                <a:latin typeface="微软雅黑" pitchFamily="34" charset="-122"/>
                <a:ea typeface="微软雅黑" pitchFamily="34" charset="-122"/>
              </a:rPr>
              <a:t>20</a:t>
            </a:r>
            <a:r>
              <a:rPr lang="zh-CN" altLang="zh-CN" sz="900" dirty="0">
                <a:latin typeface="微软雅黑" pitchFamily="34" charset="-122"/>
                <a:ea typeface="微软雅黑" pitchFamily="34" charset="-122"/>
              </a:rPr>
              <a:t>万辆，于</a:t>
            </a:r>
            <a:r>
              <a:rPr lang="en-US" altLang="zh-CN" sz="900" dirty="0">
                <a:solidFill>
                  <a:srgbClr val="C00000"/>
                </a:solidFill>
                <a:latin typeface="微软雅黑" pitchFamily="34" charset="-122"/>
                <a:ea typeface="微软雅黑" pitchFamily="34" charset="-122"/>
              </a:rPr>
              <a:t>2013</a:t>
            </a:r>
            <a:r>
              <a:rPr lang="zh-CN" altLang="zh-CN" sz="900" dirty="0">
                <a:solidFill>
                  <a:srgbClr val="C00000"/>
                </a:solidFill>
                <a:latin typeface="微软雅黑" pitchFamily="34" charset="-122"/>
                <a:ea typeface="微软雅黑" pitchFamily="34" charset="-122"/>
              </a:rPr>
              <a:t>年</a:t>
            </a:r>
            <a:r>
              <a:rPr lang="en-US" altLang="zh-CN" sz="900" dirty="0">
                <a:solidFill>
                  <a:srgbClr val="C00000"/>
                </a:solidFill>
                <a:latin typeface="微软雅黑" pitchFamily="34" charset="-122"/>
                <a:ea typeface="微软雅黑" pitchFamily="34" charset="-122"/>
              </a:rPr>
              <a:t>9</a:t>
            </a:r>
            <a:r>
              <a:rPr lang="zh-CN" altLang="zh-CN" sz="900" dirty="0">
                <a:solidFill>
                  <a:srgbClr val="C00000"/>
                </a:solidFill>
                <a:latin typeface="微软雅黑" pitchFamily="34" charset="-122"/>
                <a:ea typeface="微软雅黑" pitchFamily="34" charset="-122"/>
              </a:rPr>
              <a:t>月</a:t>
            </a:r>
            <a:r>
              <a:rPr lang="zh-CN" altLang="zh-CN" sz="900" dirty="0">
                <a:latin typeface="微软雅黑" pitchFamily="34" charset="-122"/>
                <a:ea typeface="微软雅黑" pitchFamily="34" charset="-122"/>
              </a:rPr>
              <a:t>实现量产。长安</a:t>
            </a:r>
            <a:r>
              <a:rPr lang="en-US" altLang="zh-CN" sz="900" dirty="0">
                <a:latin typeface="微软雅黑" pitchFamily="34" charset="-122"/>
                <a:ea typeface="微软雅黑" pitchFamily="34" charset="-122"/>
              </a:rPr>
              <a:t>PSA</a:t>
            </a:r>
            <a:r>
              <a:rPr lang="zh-CN" altLang="zh-CN" sz="900" dirty="0">
                <a:latin typeface="微软雅黑" pitchFamily="34" charset="-122"/>
                <a:ea typeface="微软雅黑" pitchFamily="34" charset="-122"/>
              </a:rPr>
              <a:t>研发中心于</a:t>
            </a:r>
            <a:r>
              <a:rPr lang="en-US" altLang="zh-CN" sz="900" dirty="0">
                <a:latin typeface="微软雅黑" pitchFamily="34" charset="-122"/>
                <a:ea typeface="微软雅黑" pitchFamily="34" charset="-122"/>
              </a:rPr>
              <a:t>2014</a:t>
            </a:r>
            <a:r>
              <a:rPr lang="zh-CN" altLang="zh-CN" sz="900" dirty="0">
                <a:latin typeface="微软雅黑" pitchFamily="34" charset="-122"/>
                <a:ea typeface="微软雅黑" pitchFamily="34" charset="-122"/>
              </a:rPr>
              <a:t>年底正式落成，</a:t>
            </a:r>
            <a:r>
              <a:rPr lang="zh-CN" altLang="en-US" sz="900" dirty="0">
                <a:latin typeface="微软雅黑" pitchFamily="34" charset="-122"/>
                <a:ea typeface="微软雅黑" pitchFamily="34" charset="-122"/>
              </a:rPr>
              <a:t>占地</a:t>
            </a:r>
            <a:r>
              <a:rPr lang="en-US" altLang="zh-CN" sz="900" b="1" dirty="0">
                <a:solidFill>
                  <a:srgbClr val="C00000"/>
                </a:solidFill>
                <a:latin typeface="微软雅黑" pitchFamily="34" charset="-122"/>
                <a:ea typeface="微软雅黑" pitchFamily="34" charset="-122"/>
              </a:rPr>
              <a:t>30</a:t>
            </a:r>
            <a:r>
              <a:rPr lang="zh-CN" altLang="en-US" sz="900" b="1" dirty="0">
                <a:solidFill>
                  <a:srgbClr val="C00000"/>
                </a:solidFill>
                <a:latin typeface="微软雅黑" pitchFamily="34" charset="-122"/>
                <a:ea typeface="微软雅黑" pitchFamily="34" charset="-122"/>
              </a:rPr>
              <a:t>万平米</a:t>
            </a:r>
            <a:r>
              <a:rPr lang="zh-CN" altLang="en-US" sz="900" dirty="0">
                <a:latin typeface="微软雅黑" pitchFamily="34" charset="-122"/>
                <a:ea typeface="微软雅黑" pitchFamily="34" charset="-122"/>
              </a:rPr>
              <a:t>，长安</a:t>
            </a:r>
            <a:r>
              <a:rPr lang="en-US" altLang="zh-CN" sz="900" dirty="0">
                <a:latin typeface="微软雅黑" pitchFamily="34" charset="-122"/>
                <a:ea typeface="微软雅黑" pitchFamily="34" charset="-122"/>
              </a:rPr>
              <a:t>PSA</a:t>
            </a:r>
            <a:r>
              <a:rPr lang="zh-CN" altLang="en-US" sz="900" dirty="0">
                <a:latin typeface="微软雅黑" pitchFamily="34" charset="-122"/>
                <a:ea typeface="微软雅黑" pitchFamily="34" charset="-122"/>
              </a:rPr>
              <a:t>是</a:t>
            </a:r>
            <a:r>
              <a:rPr lang="zh-CN" altLang="zh-CN" sz="900" dirty="0">
                <a:latin typeface="微软雅黑" pitchFamily="34" charset="-122"/>
                <a:ea typeface="微软雅黑" pitchFamily="34" charset="-122"/>
              </a:rPr>
              <a:t>国内首家在成立之初就建设研发中心的汽车合资企业。</a:t>
            </a:r>
            <a:endParaRPr lang="en-US" altLang="zh-CN" sz="900" dirty="0">
              <a:latin typeface="微软雅黑" pitchFamily="34" charset="-122"/>
              <a:ea typeface="微软雅黑" pitchFamily="34" charset="-122"/>
            </a:endParaRPr>
          </a:p>
          <a:p>
            <a:pPr>
              <a:lnSpc>
                <a:spcPct val="150000"/>
              </a:lnSpc>
              <a:spcBef>
                <a:spcPts val="600"/>
              </a:spcBef>
            </a:pPr>
            <a:r>
              <a:rPr lang="zh-CN" altLang="zh-CN" sz="900" dirty="0">
                <a:latin typeface="微软雅黑" pitchFamily="34" charset="-122"/>
                <a:ea typeface="微软雅黑" pitchFamily="34" charset="-122"/>
              </a:rPr>
              <a:t>长安</a:t>
            </a:r>
            <a:r>
              <a:rPr lang="en-US" altLang="zh-CN" sz="900" dirty="0">
                <a:latin typeface="微软雅黑" pitchFamily="34" charset="-122"/>
                <a:ea typeface="微软雅黑" pitchFamily="34" charset="-122"/>
              </a:rPr>
              <a:t>PSA</a:t>
            </a:r>
            <a:r>
              <a:rPr lang="zh-CN" altLang="zh-CN" sz="900" dirty="0">
                <a:latin typeface="微软雅黑" pitchFamily="34" charset="-122"/>
                <a:ea typeface="微软雅黑" pitchFamily="34" charset="-122"/>
              </a:rPr>
              <a:t>初期引入新世代豪华汽车品牌</a:t>
            </a:r>
            <a:r>
              <a:rPr lang="en-US" altLang="zh-CN" sz="900" dirty="0">
                <a:latin typeface="微软雅黑" pitchFamily="34" charset="-122"/>
                <a:ea typeface="微软雅黑" pitchFamily="34" charset="-122"/>
              </a:rPr>
              <a:t>DS</a:t>
            </a:r>
            <a:r>
              <a:rPr lang="zh-CN" altLang="zh-CN" sz="900" dirty="0">
                <a:latin typeface="微软雅黑" pitchFamily="34" charset="-122"/>
                <a:ea typeface="微软雅黑" pitchFamily="34" charset="-122"/>
              </a:rPr>
              <a:t>，为中国消费者带来原创设计，精湛工艺，人性科技的豪华车型新选择。</a:t>
            </a:r>
          </a:p>
        </p:txBody>
      </p:sp>
      <p:sp>
        <p:nvSpPr>
          <p:cNvPr id="11" name="矩形 10"/>
          <p:cNvSpPr/>
          <p:nvPr/>
        </p:nvSpPr>
        <p:spPr>
          <a:xfrm>
            <a:off x="6142703" y="2236726"/>
            <a:ext cx="2730374" cy="2793050"/>
          </a:xfrm>
          <a:prstGeom prst="rect">
            <a:avLst/>
          </a:prstGeom>
        </p:spPr>
        <p:txBody>
          <a:bodyPr wrap="square" lIns="91419" tIns="45709" rIns="91419" bIns="45709">
            <a:spAutoFit/>
          </a:bodyPr>
          <a:lstStyle/>
          <a:p>
            <a:pPr fontAlgn="t">
              <a:lnSpc>
                <a:spcPct val="150000"/>
              </a:lnSpc>
            </a:pPr>
            <a:r>
              <a:rPr lang="en-US" altLang="zh-CN" sz="900" dirty="0" err="1">
                <a:latin typeface="微软雅黑" pitchFamily="34" charset="-122"/>
                <a:ea typeface="微软雅黑" pitchFamily="34" charset="-122"/>
              </a:rPr>
              <a:t>Changan</a:t>
            </a:r>
            <a:r>
              <a:rPr lang="en-US" altLang="zh-CN" sz="900" dirty="0">
                <a:latin typeface="微软雅黑" pitchFamily="34" charset="-122"/>
                <a:ea typeface="微软雅黑" pitchFamily="34" charset="-122"/>
              </a:rPr>
              <a:t> PSA Automobiles Co., Ltd. (CAPSA) established in November 2011, and the parent companies are Chongqing </a:t>
            </a:r>
            <a:r>
              <a:rPr lang="en-US" altLang="zh-CN" sz="900" dirty="0" err="1">
                <a:latin typeface="微软雅黑" pitchFamily="34" charset="-122"/>
                <a:ea typeface="微软雅黑" pitchFamily="34" charset="-122"/>
              </a:rPr>
              <a:t>Changan</a:t>
            </a:r>
            <a:r>
              <a:rPr lang="en-US" altLang="zh-CN" sz="900" dirty="0">
                <a:latin typeface="微软雅黑" pitchFamily="34" charset="-122"/>
                <a:ea typeface="微软雅黑" pitchFamily="34" charset="-122"/>
              </a:rPr>
              <a:t> Automobile Co., Ltd.(CQCA) and PSA Group (PSA). Covering an area of 1.3 million square meters, CAPSA Shenzhen base is composed of two vehicle plants and one engine plant. The newly built R&amp;D Center put into operation at the end of 2014.</a:t>
            </a:r>
            <a:endParaRPr lang="zh-CN" altLang="zh-CN" sz="900" dirty="0">
              <a:latin typeface="微软雅黑" pitchFamily="34" charset="-122"/>
              <a:ea typeface="微软雅黑" pitchFamily="34" charset="-122"/>
            </a:endParaRPr>
          </a:p>
          <a:p>
            <a:pPr>
              <a:lnSpc>
                <a:spcPct val="150000"/>
              </a:lnSpc>
            </a:pPr>
            <a:r>
              <a:rPr lang="en-US" altLang="zh-CN" sz="900" dirty="0">
                <a:latin typeface="微软雅黑" pitchFamily="34" charset="-122"/>
                <a:ea typeface="微软雅黑" pitchFamily="34" charset="-122"/>
              </a:rPr>
              <a:t>CAPSA realizes mass production in September of 2013, will achieve the annual production capacity of 200,000 vehicles and engines in the future. </a:t>
            </a:r>
            <a:endParaRPr lang="zh-CN" altLang="zh-CN" sz="900" dirty="0">
              <a:latin typeface="微软雅黑" pitchFamily="34" charset="-122"/>
              <a:ea typeface="微软雅黑" pitchFamily="34" charset="-122"/>
            </a:endParaRPr>
          </a:p>
        </p:txBody>
      </p:sp>
      <p:sp>
        <p:nvSpPr>
          <p:cNvPr id="9" name="Rectangle 272"/>
          <p:cNvSpPr>
            <a:spLocks noChangeArrowheads="1"/>
          </p:cNvSpPr>
          <p:nvPr/>
        </p:nvSpPr>
        <p:spPr bwMode="auto">
          <a:xfrm>
            <a:off x="6221449" y="1716142"/>
            <a:ext cx="2572882" cy="508510"/>
          </a:xfrm>
          <a:prstGeom prst="rect">
            <a:avLst/>
          </a:prstGeom>
          <a:solidFill>
            <a:srgbClr val="0070C0">
              <a:alpha val="63000"/>
            </a:srgbClr>
          </a:solidFill>
          <a:ln>
            <a:noFill/>
          </a:ln>
          <a:extLst/>
        </p:spPr>
        <p:txBody>
          <a:bodyPr wrap="none" lIns="95759" tIns="47881" rIns="95759" bIns="47881" anchor="ctr"/>
          <a:lstStyle/>
          <a:p>
            <a:pPr eaLnBrk="0" hangingPunct="0"/>
            <a:endParaRPr lang="zh-CN" altLang="zh-CN">
              <a:sym typeface="宋体" pitchFamily="2" charset="-122"/>
            </a:endParaRPr>
          </a:p>
        </p:txBody>
      </p:sp>
      <p:sp>
        <p:nvSpPr>
          <p:cNvPr id="12" name="Rectangle 272"/>
          <p:cNvSpPr>
            <a:spLocks noChangeArrowheads="1"/>
          </p:cNvSpPr>
          <p:nvPr/>
        </p:nvSpPr>
        <p:spPr bwMode="auto">
          <a:xfrm>
            <a:off x="827587" y="4759714"/>
            <a:ext cx="2478885" cy="254255"/>
          </a:xfrm>
          <a:prstGeom prst="rect">
            <a:avLst/>
          </a:prstGeom>
          <a:solidFill>
            <a:srgbClr val="0070C0">
              <a:alpha val="66000"/>
            </a:srgbClr>
          </a:solidFill>
          <a:ln>
            <a:noFill/>
          </a:ln>
          <a:extLst/>
        </p:spPr>
        <p:txBody>
          <a:bodyPr wrap="none" lIns="95759" tIns="47881" rIns="95759" bIns="47881" anchor="ctr"/>
          <a:lstStyle/>
          <a:p>
            <a:pPr eaLnBrk="0" hangingPunct="0"/>
            <a:endParaRPr lang="zh-CN" altLang="zh-CN">
              <a:sym typeface="宋体" pitchFamily="2" charset="-122"/>
            </a:endParaRPr>
          </a:p>
        </p:txBody>
      </p:sp>
      <p:sp>
        <p:nvSpPr>
          <p:cNvPr id="13" name="灯片编号占位符 1"/>
          <p:cNvSpPr>
            <a:spLocks noGrp="1"/>
          </p:cNvSpPr>
          <p:nvPr>
            <p:ph type="sldNum" sz="quarter" idx="10"/>
          </p:nvPr>
        </p:nvSpPr>
        <p:spPr>
          <a:xfrm>
            <a:off x="8651507" y="5343123"/>
            <a:ext cx="36004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fld id="{A6C54AB4-FD64-4F86-9BF0-7210CD94CCAC}" type="slidenum">
              <a:rPr lang="zh-CN" altLang="en-US" sz="1000">
                <a:solidFill>
                  <a:srgbClr val="7F7F7F"/>
                </a:solidFill>
                <a:latin typeface="微软雅黑" pitchFamily="34" charset="-122"/>
                <a:ea typeface="微软雅黑" pitchFamily="34" charset="-122"/>
              </a:rPr>
              <a:pPr algn="ctr"/>
              <a:t>4</a:t>
            </a:fld>
            <a:endParaRPr lang="zh-CN" altLang="en-US" sz="1000" dirty="0">
              <a:solidFill>
                <a:srgbClr val="7F7F7F"/>
              </a:solidFill>
              <a:latin typeface="微软雅黑" pitchFamily="34" charset="-122"/>
              <a:ea typeface="微软雅黑" pitchFamily="34" charset="-122"/>
            </a:endParaRPr>
          </a:p>
        </p:txBody>
      </p:sp>
    </p:spTree>
    <p:extLst>
      <p:ext uri="{BB962C8B-B14F-4D97-AF65-F5344CB8AC3E}">
        <p14:creationId xmlns:p14="http://schemas.microsoft.com/office/powerpoint/2010/main" val="22369942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任意多边形 11"/>
          <p:cNvSpPr/>
          <p:nvPr/>
        </p:nvSpPr>
        <p:spPr>
          <a:xfrm>
            <a:off x="910894" y="1673248"/>
            <a:ext cx="8233106" cy="3161515"/>
          </a:xfrm>
          <a:custGeom>
            <a:avLst/>
            <a:gdLst>
              <a:gd name="connsiteX0" fmla="*/ 0 w 8020050"/>
              <a:gd name="connsiteY0" fmla="*/ 3457575 h 3457575"/>
              <a:gd name="connsiteX1" fmla="*/ 485775 w 8020050"/>
              <a:gd name="connsiteY1" fmla="*/ 2247900 h 3457575"/>
              <a:gd name="connsiteX2" fmla="*/ 1466850 w 8020050"/>
              <a:gd name="connsiteY2" fmla="*/ 1181100 h 3457575"/>
              <a:gd name="connsiteX3" fmla="*/ 3381375 w 8020050"/>
              <a:gd name="connsiteY3" fmla="*/ 1943100 h 3457575"/>
              <a:gd name="connsiteX4" fmla="*/ 5086350 w 8020050"/>
              <a:gd name="connsiteY4" fmla="*/ 1600200 h 3457575"/>
              <a:gd name="connsiteX5" fmla="*/ 8020050 w 8020050"/>
              <a:gd name="connsiteY5" fmla="*/ 0 h 3457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20050" h="3457575">
                <a:moveTo>
                  <a:pt x="0" y="3457575"/>
                </a:moveTo>
                <a:cubicBezTo>
                  <a:pt x="120650" y="3042443"/>
                  <a:pt x="241300" y="2627312"/>
                  <a:pt x="485775" y="2247900"/>
                </a:cubicBezTo>
                <a:cubicBezTo>
                  <a:pt x="730250" y="1868488"/>
                  <a:pt x="984250" y="1231900"/>
                  <a:pt x="1466850" y="1181100"/>
                </a:cubicBezTo>
                <a:cubicBezTo>
                  <a:pt x="1949450" y="1130300"/>
                  <a:pt x="2778125" y="1873250"/>
                  <a:pt x="3381375" y="1943100"/>
                </a:cubicBezTo>
                <a:cubicBezTo>
                  <a:pt x="3984625" y="2012950"/>
                  <a:pt x="4313238" y="1924050"/>
                  <a:pt x="5086350" y="1600200"/>
                </a:cubicBezTo>
                <a:cubicBezTo>
                  <a:pt x="5859462" y="1276350"/>
                  <a:pt x="6939756" y="638175"/>
                  <a:pt x="8020050" y="0"/>
                </a:cubicBezTo>
              </a:path>
            </a:pathLst>
          </a:custGeom>
          <a:gradFill flip="none" rotWithShape="1">
            <a:gsLst>
              <a:gs pos="67000">
                <a:srgbClr val="DEE6F4">
                  <a:alpha val="0"/>
                </a:srgbClr>
              </a:gs>
              <a:gs pos="0">
                <a:schemeClr val="accent1">
                  <a:tint val="66000"/>
                  <a:satMod val="160000"/>
                </a:schemeClr>
              </a:gs>
              <a:gs pos="0">
                <a:schemeClr val="accent1">
                  <a:tint val="44500"/>
                  <a:satMod val="160000"/>
                  <a:lumMod val="0"/>
                  <a:lumOff val="100000"/>
                  <a:alpha val="0"/>
                </a:schemeClr>
              </a:gs>
              <a:gs pos="100000">
                <a:schemeClr val="accent1">
                  <a:tint val="23500"/>
                  <a:satMod val="160000"/>
                  <a:alpha val="0"/>
                </a:schemeClr>
              </a:gs>
            </a:gsLst>
            <a:path path="circle">
              <a:fillToRect l="100000" t="100000"/>
            </a:path>
            <a:tileRect r="-100000" b="-100000"/>
          </a:gradFill>
          <a:ln w="12700">
            <a:gradFill>
              <a:gsLst>
                <a:gs pos="0">
                  <a:schemeClr val="accent1">
                    <a:tint val="66000"/>
                    <a:satMod val="160000"/>
                    <a:alpha val="14000"/>
                  </a:schemeClr>
                </a:gs>
                <a:gs pos="50000">
                  <a:schemeClr val="bg1">
                    <a:lumMod val="65000"/>
                  </a:schemeClr>
                </a:gs>
                <a:gs pos="100000">
                  <a:schemeClr val="accent1">
                    <a:tint val="23500"/>
                    <a:satMod val="160000"/>
                    <a:alpha val="0"/>
                  </a:schemeClr>
                </a:gs>
              </a:gsLst>
              <a:lin ang="5400000" scaled="0"/>
            </a:gradFill>
            <a:prstDash val="solid"/>
          </a:ln>
        </p:spPr>
        <p:style>
          <a:lnRef idx="2">
            <a:schemeClr val="accent1">
              <a:shade val="50000"/>
            </a:schemeClr>
          </a:lnRef>
          <a:fillRef idx="1">
            <a:schemeClr val="accent1"/>
          </a:fillRef>
          <a:effectRef idx="0">
            <a:schemeClr val="accent1"/>
          </a:effectRef>
          <a:fontRef idx="minor">
            <a:schemeClr val="lt1"/>
          </a:fontRef>
        </p:style>
        <p:txBody>
          <a:bodyPr lIns="91405" tIns="45703" rIns="91405" bIns="45703" rtlCol="0" anchor="ctr"/>
          <a:lstStyle/>
          <a:p>
            <a:pPr algn="ctr" fontAlgn="base">
              <a:spcBef>
                <a:spcPct val="0"/>
              </a:spcBef>
              <a:spcAft>
                <a:spcPct val="0"/>
              </a:spcAft>
            </a:pPr>
            <a:endParaRPr lang="zh-CN" altLang="en-US" sz="1100">
              <a:solidFill>
                <a:srgbClr val="FFFFFF"/>
              </a:solidFill>
              <a:sym typeface="Arial Bold" charset="0"/>
            </a:endParaRPr>
          </a:p>
        </p:txBody>
      </p:sp>
      <p:sp>
        <p:nvSpPr>
          <p:cNvPr id="5" name="TextBox 4"/>
          <p:cNvSpPr txBox="1"/>
          <p:nvPr/>
        </p:nvSpPr>
        <p:spPr>
          <a:xfrm>
            <a:off x="536119" y="121199"/>
            <a:ext cx="1858643" cy="615519"/>
          </a:xfrm>
          <a:prstGeom prst="rect">
            <a:avLst/>
          </a:prstGeom>
          <a:noFill/>
        </p:spPr>
        <p:txBody>
          <a:bodyPr wrap="square" lIns="91405" tIns="45703" rIns="91405" bIns="45703" rtlCol="0">
            <a:spAutoFit/>
          </a:bodyPr>
          <a:lstStyle/>
          <a:p>
            <a:pPr fontAlgn="base">
              <a:spcBef>
                <a:spcPct val="0"/>
              </a:spcBef>
              <a:spcAft>
                <a:spcPct val="0"/>
              </a:spcAft>
            </a:pPr>
            <a:r>
              <a:rPr lang="zh-CN" altLang="en-US" sz="2000" b="1" dirty="0">
                <a:solidFill>
                  <a:srgbClr val="C00000"/>
                </a:solidFill>
                <a:latin typeface="微软雅黑" pitchFamily="34" charset="-122"/>
                <a:sym typeface="Arial Bold" charset="0"/>
              </a:rPr>
              <a:t>发展历程</a:t>
            </a:r>
            <a:endParaRPr lang="en-US" altLang="zh-CN" sz="2000" b="1" dirty="0">
              <a:solidFill>
                <a:srgbClr val="C00000"/>
              </a:solidFill>
              <a:latin typeface="微软雅黑" pitchFamily="34" charset="-122"/>
              <a:sym typeface="Arial Bold" charset="0"/>
            </a:endParaRPr>
          </a:p>
          <a:p>
            <a:pPr fontAlgn="base">
              <a:spcBef>
                <a:spcPct val="0"/>
              </a:spcBef>
              <a:spcAft>
                <a:spcPct val="0"/>
              </a:spcAft>
            </a:pPr>
            <a:r>
              <a:rPr lang="en-US" altLang="zh-CN" sz="1400" b="1" dirty="0">
                <a:solidFill>
                  <a:srgbClr val="C00000"/>
                </a:solidFill>
                <a:latin typeface="微软雅黑" pitchFamily="34" charset="-122"/>
                <a:sym typeface="黑体" pitchFamily="49" charset="-122"/>
              </a:rPr>
              <a:t>CAPSA Milestones</a:t>
            </a:r>
          </a:p>
        </p:txBody>
      </p:sp>
      <p:sp>
        <p:nvSpPr>
          <p:cNvPr id="6" name="Rectangle 272"/>
          <p:cNvSpPr>
            <a:spLocks noChangeArrowheads="1"/>
          </p:cNvSpPr>
          <p:nvPr/>
        </p:nvSpPr>
        <p:spPr bwMode="auto">
          <a:xfrm>
            <a:off x="467547" y="19242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43" tIns="47873" rIns="95743" bIns="47873" anchor="ctr"/>
          <a:lstStyle/>
          <a:p>
            <a:pPr eaLnBrk="0" fontAlgn="base" hangingPunct="0">
              <a:spcBef>
                <a:spcPct val="0"/>
              </a:spcBef>
              <a:spcAft>
                <a:spcPct val="0"/>
              </a:spcAft>
            </a:pPr>
            <a:endParaRPr lang="zh-CN" altLang="zh-CN" sz="1100">
              <a:solidFill>
                <a:srgbClr val="FFFFFF">
                  <a:lumMod val="50000"/>
                </a:srgbClr>
              </a:solidFill>
              <a:sym typeface="宋体" pitchFamily="2" charset="-122"/>
            </a:endParaRPr>
          </a:p>
        </p:txBody>
      </p:sp>
      <p:pic>
        <p:nvPicPr>
          <p:cNvPr id="170" name="图片 20"/>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4206" y="4610810"/>
            <a:ext cx="882132" cy="636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矩形 92"/>
          <p:cNvSpPr/>
          <p:nvPr/>
        </p:nvSpPr>
        <p:spPr>
          <a:xfrm>
            <a:off x="1440104" y="4527031"/>
            <a:ext cx="1201729" cy="804032"/>
          </a:xfrm>
          <a:prstGeom prst="rect">
            <a:avLst/>
          </a:prstGeom>
        </p:spPr>
        <p:txBody>
          <a:bodyPr wrap="square" lIns="91405" tIns="45703" rIns="91405" bIns="45703">
            <a:spAutoFit/>
          </a:bodyPr>
          <a:lstStyle/>
          <a:p>
            <a:pPr eaLnBrk="0" fontAlgn="base" hangingPunct="0">
              <a:lnSpc>
                <a:spcPct val="125000"/>
              </a:lnSpc>
              <a:spcBef>
                <a:spcPct val="0"/>
              </a:spcBef>
              <a:spcAft>
                <a:spcPct val="0"/>
              </a:spcAft>
              <a:defRPr/>
            </a:pPr>
            <a:r>
              <a:rPr lang="en-US" altLang="zh-CN" sz="900" dirty="0">
                <a:solidFill>
                  <a:srgbClr val="C00000"/>
                </a:solidFill>
                <a:latin typeface="微软雅黑" pitchFamily="34" charset="-122"/>
                <a:sym typeface="Arial Bold" charset="0"/>
              </a:rPr>
              <a:t>2010.7.9</a:t>
            </a:r>
          </a:p>
          <a:p>
            <a:pPr eaLnBrk="0" fontAlgn="base" hangingPunct="0">
              <a:lnSpc>
                <a:spcPct val="125000"/>
              </a:lnSpc>
              <a:spcBef>
                <a:spcPct val="0"/>
              </a:spcBef>
              <a:spcAft>
                <a:spcPct val="0"/>
              </a:spcAft>
              <a:defRPr/>
            </a:pPr>
            <a:r>
              <a:rPr lang="en-US" altLang="zh-CN" sz="700" dirty="0">
                <a:solidFill>
                  <a:srgbClr val="000000">
                    <a:lumMod val="75000"/>
                    <a:lumOff val="25000"/>
                  </a:srgbClr>
                </a:solidFill>
                <a:latin typeface="微软雅黑" pitchFamily="34" charset="-122"/>
                <a:sym typeface="Arial Bold" charset="0"/>
              </a:rPr>
              <a:t>CCAG</a:t>
            </a:r>
            <a:r>
              <a:rPr lang="zh-CN" altLang="en-US" sz="700" dirty="0">
                <a:solidFill>
                  <a:srgbClr val="000000">
                    <a:lumMod val="75000"/>
                    <a:lumOff val="25000"/>
                  </a:srgbClr>
                </a:solidFill>
                <a:latin typeface="微软雅黑" pitchFamily="34" charset="-122"/>
                <a:sym typeface="Arial Bold" charset="0"/>
              </a:rPr>
              <a:t>和</a:t>
            </a:r>
            <a:r>
              <a:rPr lang="en-US" altLang="zh-CN" sz="700" dirty="0">
                <a:solidFill>
                  <a:srgbClr val="000000">
                    <a:lumMod val="75000"/>
                    <a:lumOff val="25000"/>
                  </a:srgbClr>
                </a:solidFill>
                <a:latin typeface="微软雅黑" pitchFamily="34" charset="-122"/>
                <a:sym typeface="Arial Bold" charset="0"/>
              </a:rPr>
              <a:t>PSA</a:t>
            </a:r>
            <a:r>
              <a:rPr lang="zh-CN" altLang="en-US" sz="700" dirty="0">
                <a:solidFill>
                  <a:srgbClr val="000000">
                    <a:lumMod val="75000"/>
                    <a:lumOff val="25000"/>
                  </a:srgbClr>
                </a:solidFill>
                <a:latin typeface="微软雅黑" pitchFamily="34" charset="-122"/>
                <a:sym typeface="Arial Bold" charset="0"/>
              </a:rPr>
              <a:t>签署合资协议 </a:t>
            </a:r>
            <a:r>
              <a:rPr lang="en-US" altLang="zh-CN" sz="700" dirty="0">
                <a:solidFill>
                  <a:srgbClr val="000000">
                    <a:lumMod val="75000"/>
                    <a:lumOff val="25000"/>
                  </a:srgbClr>
                </a:solidFill>
                <a:latin typeface="微软雅黑" pitchFamily="34" charset="-122"/>
                <a:sym typeface="Arial Bold" charset="0"/>
              </a:rPr>
              <a:t>CCAG and PSA signed Joint Venture Agreement</a:t>
            </a:r>
            <a:endParaRPr lang="zh-CN" altLang="en-US" sz="700" dirty="0">
              <a:solidFill>
                <a:srgbClr val="000000"/>
              </a:solidFill>
              <a:latin typeface="微软雅黑" pitchFamily="34" charset="-122"/>
              <a:sym typeface="Arial Bold" charset="0"/>
            </a:endParaRPr>
          </a:p>
        </p:txBody>
      </p:sp>
      <p:pic>
        <p:nvPicPr>
          <p:cNvPr id="172" name="图片 6"/>
          <p:cNvPicPr>
            <a:picLocks noChangeAspect="1"/>
          </p:cNvPicPr>
          <p:nvPr/>
        </p:nvPicPr>
        <p:blipFill>
          <a:blip r:embed="rId4" cstate="print">
            <a:extLst>
              <a:ext uri="{28A0092B-C50C-407E-A947-70E740481C1C}">
                <a14:useLocalDpi xmlns:a14="http://schemas.microsoft.com/office/drawing/2010/main" val="0"/>
              </a:ext>
            </a:extLst>
          </a:blip>
          <a:srcRect r="7710"/>
          <a:stretch>
            <a:fillRect/>
          </a:stretch>
        </p:blipFill>
        <p:spPr bwMode="auto">
          <a:xfrm>
            <a:off x="322876" y="3611287"/>
            <a:ext cx="776796" cy="566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 name="矩形 1023"/>
          <p:cNvSpPr/>
          <p:nvPr/>
        </p:nvSpPr>
        <p:spPr>
          <a:xfrm>
            <a:off x="304980" y="3005759"/>
            <a:ext cx="1326444" cy="534727"/>
          </a:xfrm>
          <a:prstGeom prst="rect">
            <a:avLst/>
          </a:prstGeom>
        </p:spPr>
        <p:txBody>
          <a:bodyPr wrap="square" lIns="91405" tIns="45703" rIns="91405" bIns="45703">
            <a:spAutoFit/>
          </a:bodyPr>
          <a:lstStyle/>
          <a:p>
            <a:pPr eaLnBrk="0" fontAlgn="base" hangingPunct="0">
              <a:lnSpc>
                <a:spcPct val="125000"/>
              </a:lnSpc>
              <a:spcBef>
                <a:spcPct val="0"/>
              </a:spcBef>
              <a:spcAft>
                <a:spcPct val="0"/>
              </a:spcAft>
              <a:defRPr/>
            </a:pPr>
            <a:r>
              <a:rPr lang="en-US" altLang="zh-CN" sz="900" dirty="0">
                <a:solidFill>
                  <a:srgbClr val="C00000"/>
                </a:solidFill>
                <a:latin typeface="微软雅黑" pitchFamily="34" charset="-122"/>
                <a:sym typeface="Arial Bold" charset="0"/>
              </a:rPr>
              <a:t>2011.11.20</a:t>
            </a:r>
          </a:p>
          <a:p>
            <a:pPr eaLnBrk="0" fontAlgn="base" hangingPunct="0">
              <a:lnSpc>
                <a:spcPct val="125000"/>
              </a:lnSpc>
              <a:spcBef>
                <a:spcPct val="0"/>
              </a:spcBef>
              <a:spcAft>
                <a:spcPct val="0"/>
              </a:spcAft>
              <a:defRPr/>
            </a:pPr>
            <a:r>
              <a:rPr lang="zh-CN" altLang="en-US" sz="700" dirty="0">
                <a:solidFill>
                  <a:srgbClr val="000000"/>
                </a:solidFill>
                <a:latin typeface="微软雅黑" pitchFamily="34" charset="-122"/>
                <a:sym typeface="Arial Bold" charset="0"/>
              </a:rPr>
              <a:t>合资企业成立暨奠基仪式</a:t>
            </a:r>
            <a:r>
              <a:rPr lang="en-US" altLang="zh-CN" sz="700" dirty="0">
                <a:solidFill>
                  <a:srgbClr val="000000"/>
                </a:solidFill>
                <a:latin typeface="微软雅黑" pitchFamily="34" charset="-122"/>
                <a:sym typeface="Arial Bold" charset="0"/>
              </a:rPr>
              <a:t>The foundation of CAPSA</a:t>
            </a:r>
            <a:endParaRPr lang="zh-CN" altLang="en-US" sz="700" dirty="0">
              <a:solidFill>
                <a:srgbClr val="000000"/>
              </a:solidFill>
              <a:latin typeface="微软雅黑" pitchFamily="34" charset="-122"/>
              <a:sym typeface="Arial Bold" charset="0"/>
            </a:endParaRPr>
          </a:p>
        </p:txBody>
      </p:sp>
      <p:pic>
        <p:nvPicPr>
          <p:cNvPr id="307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64365" y="3311727"/>
            <a:ext cx="814043" cy="5658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32016" y="2017411"/>
            <a:ext cx="929302" cy="609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109687" y="3554993"/>
            <a:ext cx="1045355" cy="682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7"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106717" y="2522558"/>
            <a:ext cx="1046810" cy="694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8" name="Picture 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867052" y="3621849"/>
            <a:ext cx="1145111" cy="62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80" name="Picture 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36096" y="2165162"/>
            <a:ext cx="1046808" cy="692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81" name="Picture 9"/>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3956" r="14183"/>
          <a:stretch/>
        </p:blipFill>
        <p:spPr bwMode="auto">
          <a:xfrm>
            <a:off x="2824379" y="2059563"/>
            <a:ext cx="949994" cy="6179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矩形 15"/>
          <p:cNvSpPr/>
          <p:nvPr/>
        </p:nvSpPr>
        <p:spPr>
          <a:xfrm>
            <a:off x="1764361" y="3845851"/>
            <a:ext cx="923220" cy="669380"/>
          </a:xfrm>
          <a:prstGeom prst="rect">
            <a:avLst/>
          </a:prstGeom>
        </p:spPr>
        <p:txBody>
          <a:bodyPr wrap="square" lIns="91405" tIns="45703" rIns="91405" bIns="45703">
            <a:spAutoFit/>
          </a:bodyPr>
          <a:lstStyle/>
          <a:p>
            <a:pPr eaLnBrk="0" fontAlgn="base" hangingPunct="0">
              <a:lnSpc>
                <a:spcPct val="125000"/>
              </a:lnSpc>
              <a:spcBef>
                <a:spcPct val="0"/>
              </a:spcBef>
              <a:spcAft>
                <a:spcPct val="0"/>
              </a:spcAft>
              <a:defRPr/>
            </a:pPr>
            <a:r>
              <a:rPr lang="en-US" altLang="zh-CN" sz="900" dirty="0">
                <a:solidFill>
                  <a:srgbClr val="C00000"/>
                </a:solidFill>
                <a:latin typeface="微软雅黑" pitchFamily="34" charset="-122"/>
                <a:sym typeface="Arial Bold" charset="0"/>
              </a:rPr>
              <a:t>2012.6.28</a:t>
            </a:r>
          </a:p>
          <a:p>
            <a:pPr eaLnBrk="0" fontAlgn="base" hangingPunct="0">
              <a:lnSpc>
                <a:spcPct val="125000"/>
              </a:lnSpc>
              <a:spcBef>
                <a:spcPct val="0"/>
              </a:spcBef>
              <a:spcAft>
                <a:spcPct val="0"/>
              </a:spcAft>
              <a:defRPr/>
            </a:pPr>
            <a:r>
              <a:rPr lang="en-US" altLang="zh-CN" sz="700" dirty="0">
                <a:solidFill>
                  <a:srgbClr val="000000">
                    <a:lumMod val="75000"/>
                    <a:lumOff val="25000"/>
                  </a:srgbClr>
                </a:solidFill>
                <a:latin typeface="微软雅黑" pitchFamily="34" charset="-122"/>
                <a:sym typeface="Arial Bold" charset="0"/>
              </a:rPr>
              <a:t>DS</a:t>
            </a:r>
            <a:r>
              <a:rPr lang="zh-CN" altLang="en-US" sz="700" dirty="0">
                <a:solidFill>
                  <a:srgbClr val="000000">
                    <a:lumMod val="75000"/>
                    <a:lumOff val="25000"/>
                  </a:srgbClr>
                </a:solidFill>
                <a:latin typeface="微软雅黑" pitchFamily="34" charset="-122"/>
                <a:sym typeface="Arial Bold" charset="0"/>
              </a:rPr>
              <a:t>品牌中国上市发布会</a:t>
            </a:r>
            <a:r>
              <a:rPr lang="en-US" altLang="zh-CN" sz="700" dirty="0">
                <a:solidFill>
                  <a:srgbClr val="000000">
                    <a:lumMod val="75000"/>
                    <a:lumOff val="25000"/>
                  </a:srgbClr>
                </a:solidFill>
                <a:latin typeface="微软雅黑" pitchFamily="34" charset="-122"/>
                <a:sym typeface="Arial Bold" charset="0"/>
              </a:rPr>
              <a:t> DS enter China market</a:t>
            </a:r>
            <a:endParaRPr lang="zh-CN" altLang="en-US" sz="700" dirty="0">
              <a:solidFill>
                <a:srgbClr val="000000"/>
              </a:solidFill>
              <a:latin typeface="微软雅黑" pitchFamily="34" charset="-122"/>
              <a:sym typeface="Arial Bold" charset="0"/>
            </a:endParaRPr>
          </a:p>
        </p:txBody>
      </p:sp>
      <p:sp>
        <p:nvSpPr>
          <p:cNvPr id="17" name="矩形 16"/>
          <p:cNvSpPr/>
          <p:nvPr/>
        </p:nvSpPr>
        <p:spPr>
          <a:xfrm>
            <a:off x="1365548" y="1417341"/>
            <a:ext cx="1215129" cy="534727"/>
          </a:xfrm>
          <a:prstGeom prst="rect">
            <a:avLst/>
          </a:prstGeom>
        </p:spPr>
        <p:txBody>
          <a:bodyPr wrap="square" lIns="91405" tIns="45703" rIns="91405" bIns="45703">
            <a:spAutoFit/>
          </a:bodyPr>
          <a:lstStyle/>
          <a:p>
            <a:pPr eaLnBrk="0" fontAlgn="base" hangingPunct="0">
              <a:lnSpc>
                <a:spcPct val="125000"/>
              </a:lnSpc>
              <a:spcBef>
                <a:spcPct val="0"/>
              </a:spcBef>
              <a:spcAft>
                <a:spcPct val="0"/>
              </a:spcAft>
              <a:defRPr/>
            </a:pPr>
            <a:r>
              <a:rPr lang="en-US" altLang="zh-CN" sz="900" dirty="0">
                <a:solidFill>
                  <a:srgbClr val="C00000"/>
                </a:solidFill>
                <a:latin typeface="微软雅黑" pitchFamily="34" charset="-122"/>
                <a:sym typeface="Arial Bold" charset="0"/>
              </a:rPr>
              <a:t>2013.9.27</a:t>
            </a:r>
          </a:p>
          <a:p>
            <a:pPr eaLnBrk="0" fontAlgn="base" hangingPunct="0">
              <a:lnSpc>
                <a:spcPct val="125000"/>
              </a:lnSpc>
              <a:spcBef>
                <a:spcPct val="0"/>
              </a:spcBef>
              <a:spcAft>
                <a:spcPct val="0"/>
              </a:spcAft>
              <a:defRPr/>
            </a:pPr>
            <a:r>
              <a:rPr lang="zh-CN" altLang="en-US" sz="700" dirty="0">
                <a:solidFill>
                  <a:srgbClr val="000000">
                    <a:lumMod val="75000"/>
                    <a:lumOff val="25000"/>
                  </a:srgbClr>
                </a:solidFill>
                <a:latin typeface="微软雅黑" pitchFamily="34" charset="-122"/>
                <a:sym typeface="Arial Bold" charset="0"/>
              </a:rPr>
              <a:t>全新</a:t>
            </a:r>
            <a:r>
              <a:rPr lang="en-US" altLang="zh-CN" sz="700" dirty="0">
                <a:solidFill>
                  <a:srgbClr val="000000">
                    <a:lumMod val="75000"/>
                    <a:lumOff val="25000"/>
                  </a:srgbClr>
                </a:solidFill>
                <a:latin typeface="微软雅黑" pitchFamily="34" charset="-122"/>
                <a:sym typeface="Arial Bold" charset="0"/>
              </a:rPr>
              <a:t>DS 5</a:t>
            </a:r>
            <a:r>
              <a:rPr lang="zh-CN" altLang="en-US" sz="700" dirty="0">
                <a:solidFill>
                  <a:srgbClr val="000000">
                    <a:lumMod val="75000"/>
                    <a:lumOff val="25000"/>
                  </a:srgbClr>
                </a:solidFill>
                <a:latin typeface="微软雅黑" pitchFamily="34" charset="-122"/>
                <a:sym typeface="Arial Bold" charset="0"/>
              </a:rPr>
              <a:t>上市</a:t>
            </a:r>
            <a:endParaRPr lang="en-US" altLang="zh-CN" sz="700" dirty="0">
              <a:solidFill>
                <a:srgbClr val="000000">
                  <a:lumMod val="75000"/>
                  <a:lumOff val="25000"/>
                </a:srgbClr>
              </a:solidFill>
              <a:latin typeface="微软雅黑" pitchFamily="34" charset="-122"/>
              <a:sym typeface="Arial Bold" charset="0"/>
            </a:endParaRPr>
          </a:p>
          <a:p>
            <a:pPr eaLnBrk="0" fontAlgn="base" hangingPunct="0">
              <a:lnSpc>
                <a:spcPct val="125000"/>
              </a:lnSpc>
              <a:spcBef>
                <a:spcPct val="0"/>
              </a:spcBef>
              <a:spcAft>
                <a:spcPct val="0"/>
              </a:spcAft>
              <a:defRPr/>
            </a:pPr>
            <a:r>
              <a:rPr lang="en-US" altLang="zh-CN" sz="700" dirty="0">
                <a:solidFill>
                  <a:srgbClr val="000000">
                    <a:lumMod val="75000"/>
                    <a:lumOff val="25000"/>
                  </a:srgbClr>
                </a:solidFill>
                <a:latin typeface="微软雅黑" pitchFamily="34" charset="-122"/>
                <a:sym typeface="Arial Bold" charset="0"/>
              </a:rPr>
              <a:t>All New DS 5 Launched</a:t>
            </a:r>
            <a:endParaRPr lang="zh-CN" altLang="en-US" sz="700" dirty="0">
              <a:solidFill>
                <a:srgbClr val="000000"/>
              </a:solidFill>
              <a:latin typeface="微软雅黑" pitchFamily="34" charset="-122"/>
              <a:sym typeface="Arial Bold" charset="0"/>
            </a:endParaRPr>
          </a:p>
        </p:txBody>
      </p:sp>
      <p:sp>
        <p:nvSpPr>
          <p:cNvPr id="18" name="矩形 17"/>
          <p:cNvSpPr/>
          <p:nvPr/>
        </p:nvSpPr>
        <p:spPr>
          <a:xfrm>
            <a:off x="2710870" y="1385579"/>
            <a:ext cx="1062489" cy="669380"/>
          </a:xfrm>
          <a:prstGeom prst="rect">
            <a:avLst/>
          </a:prstGeom>
        </p:spPr>
        <p:txBody>
          <a:bodyPr wrap="square" lIns="91405" tIns="45703" rIns="91405" bIns="45703">
            <a:spAutoFit/>
          </a:bodyPr>
          <a:lstStyle/>
          <a:p>
            <a:pPr algn="ctr" eaLnBrk="0" fontAlgn="base" hangingPunct="0">
              <a:lnSpc>
                <a:spcPct val="125000"/>
              </a:lnSpc>
              <a:spcBef>
                <a:spcPct val="0"/>
              </a:spcBef>
              <a:spcAft>
                <a:spcPct val="0"/>
              </a:spcAft>
              <a:defRPr/>
            </a:pPr>
            <a:r>
              <a:rPr lang="en-US" altLang="zh-CN" sz="900" dirty="0">
                <a:solidFill>
                  <a:srgbClr val="C00000"/>
                </a:solidFill>
                <a:latin typeface="微软雅黑" pitchFamily="34" charset="-122"/>
                <a:sym typeface="Arial Bold" charset="0"/>
              </a:rPr>
              <a:t>2013.9.28</a:t>
            </a:r>
          </a:p>
          <a:p>
            <a:pPr algn="ctr" eaLnBrk="0" fontAlgn="base" hangingPunct="0">
              <a:lnSpc>
                <a:spcPct val="125000"/>
              </a:lnSpc>
              <a:spcBef>
                <a:spcPct val="0"/>
              </a:spcBef>
              <a:spcAft>
                <a:spcPct val="0"/>
              </a:spcAft>
              <a:defRPr/>
            </a:pPr>
            <a:r>
              <a:rPr lang="zh-CN" altLang="en-US" sz="700" dirty="0">
                <a:solidFill>
                  <a:srgbClr val="000000">
                    <a:lumMod val="75000"/>
                    <a:lumOff val="25000"/>
                  </a:srgbClr>
                </a:solidFill>
                <a:latin typeface="微软雅黑" pitchFamily="34" charset="-122"/>
                <a:sym typeface="Arial Bold" charset="0"/>
              </a:rPr>
              <a:t>长安</a:t>
            </a:r>
            <a:r>
              <a:rPr lang="en-US" altLang="zh-CN" sz="700" dirty="0">
                <a:solidFill>
                  <a:srgbClr val="000000">
                    <a:lumMod val="75000"/>
                    <a:lumOff val="25000"/>
                  </a:srgbClr>
                </a:solidFill>
                <a:latin typeface="微软雅黑" pitchFamily="34" charset="-122"/>
                <a:sym typeface="Arial Bold" charset="0"/>
              </a:rPr>
              <a:t>PSA</a:t>
            </a:r>
            <a:r>
              <a:rPr lang="zh-CN" altLang="en-US" sz="700" dirty="0">
                <a:solidFill>
                  <a:srgbClr val="000000">
                    <a:lumMod val="75000"/>
                    <a:lumOff val="25000"/>
                  </a:srgbClr>
                </a:solidFill>
                <a:latin typeface="微软雅黑" pitchFamily="34" charset="-122"/>
                <a:sym typeface="Arial Bold" charset="0"/>
              </a:rPr>
              <a:t>工厂竣工</a:t>
            </a:r>
            <a:endParaRPr lang="en-US" altLang="zh-CN" sz="700" dirty="0">
              <a:solidFill>
                <a:srgbClr val="000000">
                  <a:lumMod val="75000"/>
                  <a:lumOff val="25000"/>
                </a:srgbClr>
              </a:solidFill>
              <a:latin typeface="微软雅黑" pitchFamily="34" charset="-122"/>
              <a:sym typeface="Arial Bold" charset="0"/>
            </a:endParaRPr>
          </a:p>
          <a:p>
            <a:pPr algn="ctr" eaLnBrk="0" fontAlgn="base" hangingPunct="0">
              <a:lnSpc>
                <a:spcPct val="125000"/>
              </a:lnSpc>
              <a:spcBef>
                <a:spcPct val="0"/>
              </a:spcBef>
              <a:spcAft>
                <a:spcPct val="0"/>
              </a:spcAft>
              <a:defRPr/>
            </a:pPr>
            <a:r>
              <a:rPr lang="en-US" altLang="zh-CN" sz="700" dirty="0">
                <a:solidFill>
                  <a:srgbClr val="000000">
                    <a:lumMod val="75000"/>
                    <a:lumOff val="25000"/>
                  </a:srgbClr>
                </a:solidFill>
                <a:latin typeface="微软雅黑" pitchFamily="34" charset="-122"/>
                <a:sym typeface="Arial Bold" charset="0"/>
              </a:rPr>
              <a:t>CAPSA Plant Opening</a:t>
            </a:r>
            <a:endParaRPr lang="zh-CN" altLang="en-US" sz="700" dirty="0">
              <a:solidFill>
                <a:srgbClr val="000000"/>
              </a:solidFill>
              <a:latin typeface="微软雅黑" pitchFamily="34" charset="-122"/>
              <a:sym typeface="Arial Bold" charset="0"/>
            </a:endParaRPr>
          </a:p>
        </p:txBody>
      </p:sp>
      <p:sp>
        <p:nvSpPr>
          <p:cNvPr id="19" name="矩形 18"/>
          <p:cNvSpPr/>
          <p:nvPr/>
        </p:nvSpPr>
        <p:spPr>
          <a:xfrm>
            <a:off x="3189251" y="4242065"/>
            <a:ext cx="1115901" cy="573200"/>
          </a:xfrm>
          <a:prstGeom prst="rect">
            <a:avLst/>
          </a:prstGeom>
        </p:spPr>
        <p:txBody>
          <a:bodyPr wrap="square" lIns="91405" tIns="45703" rIns="91405" bIns="45703">
            <a:spAutoFit/>
          </a:bodyPr>
          <a:lstStyle/>
          <a:p>
            <a:pPr eaLnBrk="0" fontAlgn="base" hangingPunct="0">
              <a:lnSpc>
                <a:spcPct val="125000"/>
              </a:lnSpc>
              <a:spcBef>
                <a:spcPct val="0"/>
              </a:spcBef>
              <a:spcAft>
                <a:spcPct val="0"/>
              </a:spcAft>
              <a:defRPr/>
            </a:pPr>
            <a:r>
              <a:rPr lang="en-US" altLang="zh-CN" sz="900" dirty="0">
                <a:solidFill>
                  <a:srgbClr val="C00000"/>
                </a:solidFill>
                <a:latin typeface="微软雅黑" pitchFamily="34" charset="-122"/>
                <a:sym typeface="Arial Bold" charset="0"/>
              </a:rPr>
              <a:t>2014.3.28</a:t>
            </a:r>
          </a:p>
          <a:p>
            <a:pPr eaLnBrk="0" fontAlgn="base" hangingPunct="0">
              <a:lnSpc>
                <a:spcPct val="125000"/>
              </a:lnSpc>
              <a:spcBef>
                <a:spcPct val="0"/>
              </a:spcBef>
              <a:spcAft>
                <a:spcPct val="0"/>
              </a:spcAft>
              <a:defRPr/>
            </a:pPr>
            <a:r>
              <a:rPr lang="en-US" altLang="zh-CN" sz="800" dirty="0">
                <a:solidFill>
                  <a:srgbClr val="000000">
                    <a:lumMod val="75000"/>
                    <a:lumOff val="25000"/>
                  </a:srgbClr>
                </a:solidFill>
                <a:latin typeface="微软雅黑" pitchFamily="34" charset="-122"/>
                <a:sym typeface="Arial Bold" charset="0"/>
              </a:rPr>
              <a:t>DS 5LS</a:t>
            </a:r>
            <a:r>
              <a:rPr lang="zh-CN" altLang="en-US" sz="800" dirty="0">
                <a:solidFill>
                  <a:srgbClr val="000000">
                    <a:lumMod val="75000"/>
                    <a:lumOff val="25000"/>
                  </a:srgbClr>
                </a:solidFill>
                <a:latin typeface="微软雅黑" pitchFamily="34" charset="-122"/>
                <a:sym typeface="Arial Bold" charset="0"/>
              </a:rPr>
              <a:t>上市</a:t>
            </a:r>
            <a:endParaRPr lang="en-US" altLang="zh-CN" sz="800" dirty="0">
              <a:solidFill>
                <a:srgbClr val="000000">
                  <a:lumMod val="75000"/>
                  <a:lumOff val="25000"/>
                </a:srgbClr>
              </a:solidFill>
              <a:latin typeface="微软雅黑" pitchFamily="34" charset="-122"/>
              <a:sym typeface="Arial Bold" charset="0"/>
            </a:endParaRPr>
          </a:p>
          <a:p>
            <a:pPr eaLnBrk="0" fontAlgn="base" hangingPunct="0">
              <a:lnSpc>
                <a:spcPct val="125000"/>
              </a:lnSpc>
              <a:spcBef>
                <a:spcPct val="0"/>
              </a:spcBef>
              <a:spcAft>
                <a:spcPct val="0"/>
              </a:spcAft>
              <a:defRPr/>
            </a:pPr>
            <a:r>
              <a:rPr lang="en-US" altLang="zh-CN" sz="800" dirty="0">
                <a:solidFill>
                  <a:srgbClr val="000000">
                    <a:lumMod val="75000"/>
                    <a:lumOff val="25000"/>
                  </a:srgbClr>
                </a:solidFill>
                <a:latin typeface="微软雅黑" pitchFamily="34" charset="-122"/>
                <a:sym typeface="Arial Bold" charset="0"/>
              </a:rPr>
              <a:t>DS 5LS Launched</a:t>
            </a:r>
            <a:endParaRPr lang="zh-CN" altLang="en-US" sz="800" dirty="0">
              <a:solidFill>
                <a:srgbClr val="000000"/>
              </a:solidFill>
              <a:latin typeface="微软雅黑" pitchFamily="34" charset="-122"/>
              <a:sym typeface="Arial Bold" charset="0"/>
            </a:endParaRPr>
          </a:p>
        </p:txBody>
      </p:sp>
      <p:sp>
        <p:nvSpPr>
          <p:cNvPr id="20" name="矩形 19"/>
          <p:cNvSpPr/>
          <p:nvPr/>
        </p:nvSpPr>
        <p:spPr>
          <a:xfrm>
            <a:off x="4106717" y="1961814"/>
            <a:ext cx="1250871" cy="573200"/>
          </a:xfrm>
          <a:prstGeom prst="rect">
            <a:avLst/>
          </a:prstGeom>
        </p:spPr>
        <p:txBody>
          <a:bodyPr wrap="square" lIns="91405" tIns="45703" rIns="91405" bIns="45703">
            <a:spAutoFit/>
          </a:bodyPr>
          <a:lstStyle/>
          <a:p>
            <a:pPr eaLnBrk="0" fontAlgn="base" hangingPunct="0">
              <a:lnSpc>
                <a:spcPct val="125000"/>
              </a:lnSpc>
              <a:spcBef>
                <a:spcPct val="0"/>
              </a:spcBef>
              <a:spcAft>
                <a:spcPct val="0"/>
              </a:spcAft>
              <a:defRPr/>
            </a:pPr>
            <a:r>
              <a:rPr lang="en-US" altLang="zh-CN" sz="900" dirty="0">
                <a:solidFill>
                  <a:srgbClr val="C00000"/>
                </a:solidFill>
                <a:latin typeface="微软雅黑" pitchFamily="34" charset="-122"/>
                <a:sym typeface="Arial Bold" charset="0"/>
              </a:rPr>
              <a:t>2014.9.27</a:t>
            </a:r>
          </a:p>
          <a:p>
            <a:pPr eaLnBrk="0" fontAlgn="base" hangingPunct="0">
              <a:lnSpc>
                <a:spcPct val="125000"/>
              </a:lnSpc>
              <a:spcBef>
                <a:spcPct val="0"/>
              </a:spcBef>
              <a:spcAft>
                <a:spcPct val="0"/>
              </a:spcAft>
              <a:defRPr/>
            </a:pPr>
            <a:r>
              <a:rPr lang="en-US" altLang="zh-CN" sz="800" dirty="0">
                <a:solidFill>
                  <a:srgbClr val="000000">
                    <a:lumMod val="75000"/>
                    <a:lumOff val="25000"/>
                  </a:srgbClr>
                </a:solidFill>
                <a:latin typeface="微软雅黑" pitchFamily="34" charset="-122"/>
                <a:sym typeface="Arial Bold" charset="0"/>
              </a:rPr>
              <a:t>DS 6</a:t>
            </a:r>
            <a:r>
              <a:rPr lang="zh-CN" altLang="en-US" sz="800" dirty="0">
                <a:solidFill>
                  <a:srgbClr val="000000">
                    <a:lumMod val="75000"/>
                    <a:lumOff val="25000"/>
                  </a:srgbClr>
                </a:solidFill>
                <a:latin typeface="微软雅黑" pitchFamily="34" charset="-122"/>
                <a:sym typeface="Arial Bold" charset="0"/>
              </a:rPr>
              <a:t>北京上市</a:t>
            </a:r>
            <a:endParaRPr lang="en-US" altLang="zh-CN" sz="800" dirty="0">
              <a:solidFill>
                <a:srgbClr val="000000">
                  <a:lumMod val="75000"/>
                  <a:lumOff val="25000"/>
                </a:srgbClr>
              </a:solidFill>
              <a:latin typeface="微软雅黑" pitchFamily="34" charset="-122"/>
              <a:sym typeface="Arial Bold" charset="0"/>
            </a:endParaRPr>
          </a:p>
          <a:p>
            <a:pPr eaLnBrk="0" fontAlgn="base" hangingPunct="0">
              <a:lnSpc>
                <a:spcPct val="125000"/>
              </a:lnSpc>
              <a:spcBef>
                <a:spcPct val="0"/>
              </a:spcBef>
              <a:spcAft>
                <a:spcPct val="0"/>
              </a:spcAft>
              <a:defRPr/>
            </a:pPr>
            <a:r>
              <a:rPr lang="en-US" altLang="zh-CN" sz="800" dirty="0">
                <a:solidFill>
                  <a:srgbClr val="000000">
                    <a:lumMod val="75000"/>
                    <a:lumOff val="25000"/>
                  </a:srgbClr>
                </a:solidFill>
                <a:latin typeface="微软雅黑" pitchFamily="34" charset="-122"/>
                <a:sym typeface="Arial Bold" charset="0"/>
              </a:rPr>
              <a:t>DS 6 Launched</a:t>
            </a:r>
            <a:endParaRPr lang="zh-CN" altLang="en-US" sz="800" dirty="0">
              <a:solidFill>
                <a:srgbClr val="000000"/>
              </a:solidFill>
              <a:latin typeface="微软雅黑" pitchFamily="34" charset="-122"/>
              <a:sym typeface="Arial Bold" charset="0"/>
            </a:endParaRPr>
          </a:p>
        </p:txBody>
      </p:sp>
      <p:sp>
        <p:nvSpPr>
          <p:cNvPr id="21" name="矩形 20"/>
          <p:cNvSpPr/>
          <p:nvPr/>
        </p:nvSpPr>
        <p:spPr>
          <a:xfrm>
            <a:off x="4787007" y="4225654"/>
            <a:ext cx="1324878" cy="573200"/>
          </a:xfrm>
          <a:prstGeom prst="rect">
            <a:avLst/>
          </a:prstGeom>
        </p:spPr>
        <p:txBody>
          <a:bodyPr wrap="square" lIns="91405" tIns="45703" rIns="91405" bIns="45703">
            <a:spAutoFit/>
          </a:bodyPr>
          <a:lstStyle/>
          <a:p>
            <a:pPr eaLnBrk="0" fontAlgn="base" hangingPunct="0">
              <a:lnSpc>
                <a:spcPct val="125000"/>
              </a:lnSpc>
              <a:spcBef>
                <a:spcPct val="0"/>
              </a:spcBef>
              <a:spcAft>
                <a:spcPct val="0"/>
              </a:spcAft>
              <a:defRPr/>
            </a:pPr>
            <a:r>
              <a:rPr lang="en-US" altLang="zh-CN" sz="900" dirty="0">
                <a:solidFill>
                  <a:srgbClr val="C00000"/>
                </a:solidFill>
                <a:latin typeface="微软雅黑" pitchFamily="34" charset="-122"/>
                <a:sym typeface="Arial Bold" charset="0"/>
              </a:rPr>
              <a:t>2014.12.04</a:t>
            </a:r>
            <a:endParaRPr lang="en-US" altLang="zh-CN" sz="900" dirty="0">
              <a:solidFill>
                <a:srgbClr val="000000">
                  <a:lumMod val="75000"/>
                  <a:lumOff val="25000"/>
                </a:srgbClr>
              </a:solidFill>
              <a:latin typeface="微软雅黑" pitchFamily="34" charset="-122"/>
              <a:sym typeface="Arial Bold" charset="0"/>
            </a:endParaRPr>
          </a:p>
          <a:p>
            <a:pPr eaLnBrk="0" fontAlgn="base" hangingPunct="0">
              <a:lnSpc>
                <a:spcPct val="125000"/>
              </a:lnSpc>
              <a:spcBef>
                <a:spcPct val="0"/>
              </a:spcBef>
              <a:spcAft>
                <a:spcPct val="0"/>
              </a:spcAft>
              <a:defRPr/>
            </a:pPr>
            <a:r>
              <a:rPr lang="zh-CN" altLang="en-US" sz="800" dirty="0">
                <a:solidFill>
                  <a:srgbClr val="000000">
                    <a:lumMod val="75000"/>
                    <a:lumOff val="25000"/>
                  </a:srgbClr>
                </a:solidFill>
                <a:latin typeface="微软雅黑" pitchFamily="34" charset="-122"/>
                <a:sym typeface="Arial Bold" charset="0"/>
              </a:rPr>
              <a:t>长安</a:t>
            </a:r>
            <a:r>
              <a:rPr lang="en-US" altLang="zh-CN" sz="800" dirty="0">
                <a:solidFill>
                  <a:srgbClr val="000000">
                    <a:lumMod val="75000"/>
                    <a:lumOff val="25000"/>
                  </a:srgbClr>
                </a:solidFill>
                <a:latin typeface="微软雅黑" pitchFamily="34" charset="-122"/>
                <a:sym typeface="Arial Bold" charset="0"/>
              </a:rPr>
              <a:t>PSA</a:t>
            </a:r>
            <a:r>
              <a:rPr lang="zh-CN" altLang="en-US" sz="800" dirty="0">
                <a:solidFill>
                  <a:srgbClr val="000000">
                    <a:lumMod val="75000"/>
                    <a:lumOff val="25000"/>
                  </a:srgbClr>
                </a:solidFill>
                <a:latin typeface="微软雅黑" pitchFamily="34" charset="-122"/>
                <a:sym typeface="Arial Bold" charset="0"/>
              </a:rPr>
              <a:t>研发中心落成</a:t>
            </a:r>
            <a:endParaRPr lang="en-US" altLang="zh-CN" sz="800" dirty="0">
              <a:solidFill>
                <a:srgbClr val="000000">
                  <a:lumMod val="75000"/>
                  <a:lumOff val="25000"/>
                </a:srgbClr>
              </a:solidFill>
              <a:latin typeface="微软雅黑" pitchFamily="34" charset="-122"/>
              <a:sym typeface="Arial Bold" charset="0"/>
            </a:endParaRPr>
          </a:p>
          <a:p>
            <a:pPr eaLnBrk="0" fontAlgn="base" hangingPunct="0">
              <a:lnSpc>
                <a:spcPct val="125000"/>
              </a:lnSpc>
              <a:spcBef>
                <a:spcPct val="0"/>
              </a:spcBef>
              <a:spcAft>
                <a:spcPct val="0"/>
              </a:spcAft>
              <a:defRPr/>
            </a:pPr>
            <a:r>
              <a:rPr lang="en-US" altLang="zh-CN" sz="800" dirty="0">
                <a:solidFill>
                  <a:srgbClr val="000000">
                    <a:lumMod val="75000"/>
                    <a:lumOff val="25000"/>
                  </a:srgbClr>
                </a:solidFill>
                <a:latin typeface="微软雅黑" pitchFamily="34" charset="-122"/>
                <a:sym typeface="Arial Bold" charset="0"/>
              </a:rPr>
              <a:t>R&amp;D center Opening</a:t>
            </a:r>
            <a:endParaRPr lang="zh-CN" altLang="en-US" sz="800" dirty="0">
              <a:solidFill>
                <a:srgbClr val="000000"/>
              </a:solidFill>
              <a:latin typeface="微软雅黑" pitchFamily="34" charset="-122"/>
              <a:sym typeface="Arial Bold" charset="0"/>
            </a:endParaRPr>
          </a:p>
        </p:txBody>
      </p:sp>
      <p:sp>
        <p:nvSpPr>
          <p:cNvPr id="22" name="矩形 21"/>
          <p:cNvSpPr/>
          <p:nvPr/>
        </p:nvSpPr>
        <p:spPr>
          <a:xfrm>
            <a:off x="5369629" y="1397496"/>
            <a:ext cx="1183090" cy="727088"/>
          </a:xfrm>
          <a:prstGeom prst="rect">
            <a:avLst/>
          </a:prstGeom>
        </p:spPr>
        <p:txBody>
          <a:bodyPr wrap="square" lIns="91405" tIns="45703" rIns="91405" bIns="45703">
            <a:spAutoFit/>
          </a:bodyPr>
          <a:lstStyle/>
          <a:p>
            <a:pPr eaLnBrk="0" fontAlgn="base" hangingPunct="0">
              <a:lnSpc>
                <a:spcPct val="125000"/>
              </a:lnSpc>
              <a:spcBef>
                <a:spcPct val="0"/>
              </a:spcBef>
              <a:spcAft>
                <a:spcPct val="0"/>
              </a:spcAft>
              <a:defRPr/>
            </a:pPr>
            <a:r>
              <a:rPr lang="en-US" altLang="zh-CN" sz="900" dirty="0">
                <a:solidFill>
                  <a:srgbClr val="C00000"/>
                </a:solidFill>
                <a:latin typeface="微软雅黑" pitchFamily="34" charset="-122"/>
                <a:sym typeface="Arial Bold" charset="0"/>
              </a:rPr>
              <a:t>2016.4.25</a:t>
            </a:r>
            <a:endParaRPr lang="en-US" altLang="zh-CN" sz="900" dirty="0">
              <a:solidFill>
                <a:srgbClr val="000000">
                  <a:lumMod val="75000"/>
                  <a:lumOff val="25000"/>
                </a:srgbClr>
              </a:solidFill>
              <a:latin typeface="微软雅黑" pitchFamily="34" charset="-122"/>
              <a:sym typeface="Arial Bold" charset="0"/>
            </a:endParaRPr>
          </a:p>
          <a:p>
            <a:pPr eaLnBrk="0" fontAlgn="base" hangingPunct="0">
              <a:lnSpc>
                <a:spcPct val="125000"/>
              </a:lnSpc>
              <a:spcBef>
                <a:spcPct val="0"/>
              </a:spcBef>
              <a:spcAft>
                <a:spcPct val="0"/>
              </a:spcAft>
              <a:defRPr/>
            </a:pPr>
            <a:r>
              <a:rPr lang="zh-CN" altLang="en-US" sz="800" dirty="0">
                <a:solidFill>
                  <a:srgbClr val="000000">
                    <a:lumMod val="75000"/>
                    <a:lumOff val="25000"/>
                  </a:srgbClr>
                </a:solidFill>
                <a:latin typeface="微软雅黑" pitchFamily="34" charset="-122"/>
                <a:sym typeface="Arial Bold" charset="0"/>
              </a:rPr>
              <a:t>精致动感两厢车</a:t>
            </a:r>
            <a:r>
              <a:rPr lang="en-US" altLang="zh-CN" sz="800" dirty="0">
                <a:solidFill>
                  <a:srgbClr val="000000">
                    <a:lumMod val="75000"/>
                    <a:lumOff val="25000"/>
                  </a:srgbClr>
                </a:solidFill>
                <a:latin typeface="微软雅黑" pitchFamily="34" charset="-122"/>
                <a:sym typeface="Arial Bold" charset="0"/>
              </a:rPr>
              <a:t>DS 4S</a:t>
            </a:r>
            <a:r>
              <a:rPr lang="zh-CN" altLang="en-US" sz="800" dirty="0">
                <a:solidFill>
                  <a:srgbClr val="000000">
                    <a:lumMod val="75000"/>
                    <a:lumOff val="25000"/>
                  </a:srgbClr>
                </a:solidFill>
                <a:latin typeface="微软雅黑" pitchFamily="34" charset="-122"/>
                <a:sym typeface="Arial Bold" charset="0"/>
              </a:rPr>
              <a:t>上市 </a:t>
            </a:r>
            <a:r>
              <a:rPr lang="en-US" altLang="zh-CN" sz="800" dirty="0">
                <a:solidFill>
                  <a:srgbClr val="000000">
                    <a:lumMod val="75000"/>
                    <a:lumOff val="25000"/>
                  </a:srgbClr>
                </a:solidFill>
                <a:latin typeface="微软雅黑" pitchFamily="34" charset="-122"/>
                <a:sym typeface="Arial Bold" charset="0"/>
              </a:rPr>
              <a:t>DS </a:t>
            </a:r>
          </a:p>
          <a:p>
            <a:pPr eaLnBrk="0" fontAlgn="base" hangingPunct="0">
              <a:lnSpc>
                <a:spcPct val="125000"/>
              </a:lnSpc>
              <a:spcBef>
                <a:spcPct val="0"/>
              </a:spcBef>
              <a:spcAft>
                <a:spcPct val="0"/>
              </a:spcAft>
              <a:defRPr/>
            </a:pPr>
            <a:r>
              <a:rPr lang="en-US" altLang="zh-CN" sz="800" dirty="0">
                <a:solidFill>
                  <a:srgbClr val="000000">
                    <a:lumMod val="75000"/>
                    <a:lumOff val="25000"/>
                  </a:srgbClr>
                </a:solidFill>
                <a:latin typeface="微软雅黑" pitchFamily="34" charset="-122"/>
                <a:sym typeface="Arial Bold" charset="0"/>
              </a:rPr>
              <a:t>4S launch in Beijing</a:t>
            </a:r>
          </a:p>
        </p:txBody>
      </p:sp>
      <p:sp>
        <p:nvSpPr>
          <p:cNvPr id="13" name="椭圆 12"/>
          <p:cNvSpPr/>
          <p:nvPr/>
        </p:nvSpPr>
        <p:spPr>
          <a:xfrm>
            <a:off x="947511" y="4496627"/>
            <a:ext cx="115671" cy="115671"/>
          </a:xfrm>
          <a:prstGeom prst="ellipse">
            <a:avLst/>
          </a:prstGeom>
          <a:gradFill>
            <a:gsLst>
              <a:gs pos="0">
                <a:schemeClr val="bg1">
                  <a:lumMod val="75000"/>
                </a:schemeClr>
              </a:gs>
              <a:gs pos="50000">
                <a:schemeClr val="bg1">
                  <a:lumMod val="65000"/>
                </a:schemeClr>
              </a:gs>
              <a:gs pos="100000">
                <a:schemeClr val="accent1">
                  <a:tint val="23500"/>
                  <a:satMod val="160000"/>
                  <a:alpha val="0"/>
                </a:schemeClr>
              </a:gs>
            </a:gsLst>
            <a:lin ang="54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05" tIns="45703" rIns="91405" bIns="45703" rtlCol="0" anchor="ctr"/>
          <a:lstStyle/>
          <a:p>
            <a:pPr algn="ctr" fontAlgn="base">
              <a:spcBef>
                <a:spcPct val="0"/>
              </a:spcBef>
              <a:spcAft>
                <a:spcPct val="0"/>
              </a:spcAft>
            </a:pPr>
            <a:endParaRPr lang="zh-CN" altLang="en-US" sz="1100">
              <a:solidFill>
                <a:srgbClr val="FFFFFF"/>
              </a:solidFill>
              <a:sym typeface="Arial Bold" charset="0"/>
            </a:endParaRPr>
          </a:p>
        </p:txBody>
      </p:sp>
      <p:sp>
        <p:nvSpPr>
          <p:cNvPr id="32" name="椭圆 31"/>
          <p:cNvSpPr/>
          <p:nvPr/>
        </p:nvSpPr>
        <p:spPr>
          <a:xfrm>
            <a:off x="1166141" y="4001974"/>
            <a:ext cx="115671" cy="115671"/>
          </a:xfrm>
          <a:prstGeom prst="ellipse">
            <a:avLst/>
          </a:prstGeom>
          <a:gradFill>
            <a:gsLst>
              <a:gs pos="0">
                <a:schemeClr val="bg1">
                  <a:lumMod val="75000"/>
                </a:schemeClr>
              </a:gs>
              <a:gs pos="50000">
                <a:schemeClr val="bg1">
                  <a:lumMod val="65000"/>
                </a:schemeClr>
              </a:gs>
              <a:gs pos="100000">
                <a:schemeClr val="accent1">
                  <a:tint val="23500"/>
                  <a:satMod val="160000"/>
                  <a:alpha val="0"/>
                </a:schemeClr>
              </a:gs>
            </a:gsLst>
            <a:lin ang="54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05" tIns="45703" rIns="91405" bIns="45703" rtlCol="0" anchor="ctr"/>
          <a:lstStyle/>
          <a:p>
            <a:pPr algn="ctr" fontAlgn="base">
              <a:spcBef>
                <a:spcPct val="0"/>
              </a:spcBef>
              <a:spcAft>
                <a:spcPct val="0"/>
              </a:spcAft>
            </a:pPr>
            <a:endParaRPr lang="zh-CN" altLang="en-US" sz="1100">
              <a:solidFill>
                <a:srgbClr val="FFFFFF"/>
              </a:solidFill>
              <a:sym typeface="Arial Bold" charset="0"/>
            </a:endParaRPr>
          </a:p>
        </p:txBody>
      </p:sp>
      <p:sp>
        <p:nvSpPr>
          <p:cNvPr id="33" name="椭圆 32"/>
          <p:cNvSpPr/>
          <p:nvPr/>
        </p:nvSpPr>
        <p:spPr>
          <a:xfrm>
            <a:off x="1564958" y="3341900"/>
            <a:ext cx="115671" cy="115671"/>
          </a:xfrm>
          <a:prstGeom prst="ellipse">
            <a:avLst/>
          </a:prstGeom>
          <a:gradFill>
            <a:gsLst>
              <a:gs pos="0">
                <a:schemeClr val="bg1">
                  <a:lumMod val="75000"/>
                </a:schemeClr>
              </a:gs>
              <a:gs pos="50000">
                <a:schemeClr val="bg1">
                  <a:lumMod val="65000"/>
                </a:schemeClr>
              </a:gs>
              <a:gs pos="100000">
                <a:schemeClr val="accent1">
                  <a:tint val="23500"/>
                  <a:satMod val="160000"/>
                  <a:alpha val="0"/>
                </a:schemeClr>
              </a:gs>
            </a:gsLst>
            <a:lin ang="54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05" tIns="45703" rIns="91405" bIns="45703" rtlCol="0" anchor="ctr"/>
          <a:lstStyle/>
          <a:p>
            <a:pPr algn="ctr" fontAlgn="base">
              <a:spcBef>
                <a:spcPct val="0"/>
              </a:spcBef>
              <a:spcAft>
                <a:spcPct val="0"/>
              </a:spcAft>
            </a:pPr>
            <a:endParaRPr lang="zh-CN" altLang="en-US" sz="1100">
              <a:solidFill>
                <a:srgbClr val="FFFFFF"/>
              </a:solidFill>
              <a:sym typeface="Arial Bold" charset="0"/>
            </a:endParaRPr>
          </a:p>
        </p:txBody>
      </p:sp>
      <p:sp>
        <p:nvSpPr>
          <p:cNvPr id="34" name="椭圆 33"/>
          <p:cNvSpPr/>
          <p:nvPr/>
        </p:nvSpPr>
        <p:spPr>
          <a:xfrm>
            <a:off x="2163174" y="2757773"/>
            <a:ext cx="115671" cy="115671"/>
          </a:xfrm>
          <a:prstGeom prst="ellipse">
            <a:avLst/>
          </a:prstGeom>
          <a:gradFill>
            <a:gsLst>
              <a:gs pos="0">
                <a:schemeClr val="bg1">
                  <a:lumMod val="75000"/>
                </a:schemeClr>
              </a:gs>
              <a:gs pos="50000">
                <a:schemeClr val="bg1">
                  <a:lumMod val="65000"/>
                </a:schemeClr>
              </a:gs>
              <a:gs pos="100000">
                <a:schemeClr val="accent1">
                  <a:tint val="23500"/>
                  <a:satMod val="160000"/>
                  <a:alpha val="0"/>
                </a:schemeClr>
              </a:gs>
            </a:gsLst>
            <a:lin ang="54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05" tIns="45703" rIns="91405" bIns="45703" rtlCol="0" anchor="ctr"/>
          <a:lstStyle/>
          <a:p>
            <a:pPr algn="ctr" fontAlgn="base">
              <a:spcBef>
                <a:spcPct val="0"/>
              </a:spcBef>
              <a:spcAft>
                <a:spcPct val="0"/>
              </a:spcAft>
            </a:pPr>
            <a:endParaRPr lang="zh-CN" altLang="en-US" sz="1100">
              <a:solidFill>
                <a:srgbClr val="FFFFFF"/>
              </a:solidFill>
              <a:sym typeface="Arial Bold" charset="0"/>
            </a:endParaRPr>
          </a:p>
        </p:txBody>
      </p:sp>
      <p:sp>
        <p:nvSpPr>
          <p:cNvPr id="35" name="椭圆 34"/>
          <p:cNvSpPr/>
          <p:nvPr/>
        </p:nvSpPr>
        <p:spPr>
          <a:xfrm>
            <a:off x="3043217" y="2885848"/>
            <a:ext cx="115671" cy="115671"/>
          </a:xfrm>
          <a:prstGeom prst="ellipse">
            <a:avLst/>
          </a:prstGeom>
          <a:gradFill>
            <a:gsLst>
              <a:gs pos="0">
                <a:schemeClr val="bg1">
                  <a:lumMod val="75000"/>
                </a:schemeClr>
              </a:gs>
              <a:gs pos="50000">
                <a:schemeClr val="bg1">
                  <a:lumMod val="65000"/>
                </a:schemeClr>
              </a:gs>
              <a:gs pos="100000">
                <a:schemeClr val="accent1">
                  <a:tint val="23500"/>
                  <a:satMod val="160000"/>
                  <a:alpha val="0"/>
                </a:schemeClr>
              </a:gs>
            </a:gsLst>
            <a:lin ang="54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05" tIns="45703" rIns="91405" bIns="45703" rtlCol="0" anchor="ctr"/>
          <a:lstStyle/>
          <a:p>
            <a:pPr algn="ctr" fontAlgn="base">
              <a:spcBef>
                <a:spcPct val="0"/>
              </a:spcBef>
              <a:spcAft>
                <a:spcPct val="0"/>
              </a:spcAft>
            </a:pPr>
            <a:endParaRPr lang="zh-CN" altLang="en-US" sz="1100">
              <a:solidFill>
                <a:srgbClr val="FFFFFF"/>
              </a:solidFill>
              <a:sym typeface="Arial Bold" charset="0"/>
            </a:endParaRPr>
          </a:p>
        </p:txBody>
      </p:sp>
      <p:sp>
        <p:nvSpPr>
          <p:cNvPr id="36" name="椭圆 35"/>
          <p:cNvSpPr/>
          <p:nvPr/>
        </p:nvSpPr>
        <p:spPr>
          <a:xfrm>
            <a:off x="4572003" y="3433564"/>
            <a:ext cx="115671" cy="115671"/>
          </a:xfrm>
          <a:prstGeom prst="ellipse">
            <a:avLst/>
          </a:prstGeom>
          <a:gradFill>
            <a:gsLst>
              <a:gs pos="0">
                <a:schemeClr val="bg1">
                  <a:lumMod val="75000"/>
                </a:schemeClr>
              </a:gs>
              <a:gs pos="50000">
                <a:schemeClr val="bg1">
                  <a:lumMod val="65000"/>
                </a:schemeClr>
              </a:gs>
              <a:gs pos="100000">
                <a:schemeClr val="accent1">
                  <a:tint val="23500"/>
                  <a:satMod val="160000"/>
                  <a:alpha val="0"/>
                </a:schemeClr>
              </a:gs>
            </a:gsLst>
            <a:lin ang="54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05" tIns="45703" rIns="91405" bIns="45703" rtlCol="0" anchor="ctr"/>
          <a:lstStyle/>
          <a:p>
            <a:pPr algn="ctr" fontAlgn="base">
              <a:spcBef>
                <a:spcPct val="0"/>
              </a:spcBef>
              <a:spcAft>
                <a:spcPct val="0"/>
              </a:spcAft>
            </a:pPr>
            <a:endParaRPr lang="zh-CN" altLang="en-US" sz="1100">
              <a:solidFill>
                <a:srgbClr val="FFFFFF"/>
              </a:solidFill>
              <a:sym typeface="Arial Bold" charset="0"/>
            </a:endParaRPr>
          </a:p>
        </p:txBody>
      </p:sp>
      <p:sp>
        <p:nvSpPr>
          <p:cNvPr id="37" name="椭圆 36"/>
          <p:cNvSpPr/>
          <p:nvPr/>
        </p:nvSpPr>
        <p:spPr>
          <a:xfrm>
            <a:off x="6034316" y="3101869"/>
            <a:ext cx="115671" cy="115671"/>
          </a:xfrm>
          <a:prstGeom prst="ellipse">
            <a:avLst/>
          </a:prstGeom>
          <a:gradFill>
            <a:gsLst>
              <a:gs pos="0">
                <a:schemeClr val="bg1">
                  <a:lumMod val="75000"/>
                </a:schemeClr>
              </a:gs>
              <a:gs pos="50000">
                <a:schemeClr val="bg1">
                  <a:lumMod val="65000"/>
                </a:schemeClr>
              </a:gs>
              <a:gs pos="100000">
                <a:schemeClr val="accent1">
                  <a:tint val="23500"/>
                  <a:satMod val="160000"/>
                  <a:alpha val="0"/>
                </a:schemeClr>
              </a:gs>
            </a:gsLst>
            <a:lin ang="54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05" tIns="45703" rIns="91405" bIns="45703" rtlCol="0" anchor="ctr"/>
          <a:lstStyle/>
          <a:p>
            <a:pPr algn="ctr" fontAlgn="base">
              <a:spcBef>
                <a:spcPct val="0"/>
              </a:spcBef>
              <a:spcAft>
                <a:spcPct val="0"/>
              </a:spcAft>
            </a:pPr>
            <a:endParaRPr lang="zh-CN" altLang="en-US" sz="1100">
              <a:solidFill>
                <a:srgbClr val="FFFFFF"/>
              </a:solidFill>
              <a:sym typeface="Arial Bold" charset="0"/>
            </a:endParaRPr>
          </a:p>
        </p:txBody>
      </p:sp>
      <p:sp>
        <p:nvSpPr>
          <p:cNvPr id="38" name="椭圆 37"/>
          <p:cNvSpPr/>
          <p:nvPr/>
        </p:nvSpPr>
        <p:spPr>
          <a:xfrm>
            <a:off x="7596339" y="2381792"/>
            <a:ext cx="115671" cy="115671"/>
          </a:xfrm>
          <a:prstGeom prst="ellipse">
            <a:avLst/>
          </a:prstGeom>
          <a:gradFill>
            <a:gsLst>
              <a:gs pos="0">
                <a:schemeClr val="bg1">
                  <a:lumMod val="75000"/>
                </a:schemeClr>
              </a:gs>
              <a:gs pos="50000">
                <a:schemeClr val="bg1">
                  <a:lumMod val="65000"/>
                </a:schemeClr>
              </a:gs>
              <a:gs pos="100000">
                <a:schemeClr val="accent1">
                  <a:tint val="23500"/>
                  <a:satMod val="160000"/>
                  <a:alpha val="0"/>
                </a:schemeClr>
              </a:gs>
            </a:gsLst>
            <a:lin ang="54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05" tIns="45703" rIns="91405" bIns="45703" rtlCol="0" anchor="ctr"/>
          <a:lstStyle/>
          <a:p>
            <a:pPr algn="ctr" fontAlgn="base">
              <a:spcBef>
                <a:spcPct val="0"/>
              </a:spcBef>
              <a:spcAft>
                <a:spcPct val="0"/>
              </a:spcAft>
            </a:pPr>
            <a:endParaRPr lang="zh-CN" altLang="en-US" sz="1100">
              <a:solidFill>
                <a:srgbClr val="FFFFFF"/>
              </a:solidFill>
              <a:sym typeface="Arial Bold" charset="0"/>
            </a:endParaRPr>
          </a:p>
        </p:txBody>
      </p:sp>
      <p:sp>
        <p:nvSpPr>
          <p:cNvPr id="39" name="椭圆 38"/>
          <p:cNvSpPr/>
          <p:nvPr/>
        </p:nvSpPr>
        <p:spPr>
          <a:xfrm>
            <a:off x="8172401" y="2137423"/>
            <a:ext cx="115671" cy="115671"/>
          </a:xfrm>
          <a:prstGeom prst="ellipse">
            <a:avLst/>
          </a:prstGeom>
          <a:gradFill>
            <a:gsLst>
              <a:gs pos="0">
                <a:schemeClr val="bg1">
                  <a:lumMod val="75000"/>
                </a:schemeClr>
              </a:gs>
              <a:gs pos="50000">
                <a:schemeClr val="bg1">
                  <a:lumMod val="65000"/>
                </a:schemeClr>
              </a:gs>
              <a:gs pos="100000">
                <a:schemeClr val="accent1">
                  <a:tint val="23500"/>
                  <a:satMod val="160000"/>
                  <a:alpha val="0"/>
                </a:schemeClr>
              </a:gs>
            </a:gsLst>
            <a:lin ang="54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05" tIns="45703" rIns="91405" bIns="45703" rtlCol="0" anchor="ctr"/>
          <a:lstStyle/>
          <a:p>
            <a:pPr algn="ctr" fontAlgn="base">
              <a:spcBef>
                <a:spcPct val="0"/>
              </a:spcBef>
              <a:spcAft>
                <a:spcPct val="0"/>
              </a:spcAft>
            </a:pPr>
            <a:endParaRPr lang="zh-CN" altLang="en-US" sz="1100">
              <a:solidFill>
                <a:srgbClr val="FFFFFF"/>
              </a:solidFill>
              <a:sym typeface="Arial Bold" charset="0"/>
            </a:endParaRPr>
          </a:p>
        </p:txBody>
      </p:sp>
      <p:grpSp>
        <p:nvGrpSpPr>
          <p:cNvPr id="14" name="组合 13"/>
          <p:cNvGrpSpPr/>
          <p:nvPr/>
        </p:nvGrpSpPr>
        <p:grpSpPr>
          <a:xfrm>
            <a:off x="4306124" y="4717708"/>
            <a:ext cx="4484607" cy="954107"/>
            <a:chOff x="4037114" y="4708796"/>
            <a:chExt cx="4484607" cy="954107"/>
          </a:xfrm>
        </p:grpSpPr>
        <p:sp>
          <p:nvSpPr>
            <p:cNvPr id="41" name="矩形 129"/>
            <p:cNvSpPr>
              <a:spLocks noChangeArrowheads="1"/>
            </p:cNvSpPr>
            <p:nvPr/>
          </p:nvSpPr>
          <p:spPr bwMode="auto">
            <a:xfrm>
              <a:off x="4037114" y="5051063"/>
              <a:ext cx="129694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0" fontAlgn="base" hangingPunct="0">
                <a:spcBef>
                  <a:spcPct val="0"/>
                </a:spcBef>
                <a:spcAft>
                  <a:spcPct val="0"/>
                </a:spcAft>
              </a:pPr>
              <a:r>
                <a:rPr lang="en-US" altLang="zh-CN" sz="1400" b="1" i="1" dirty="0">
                  <a:solidFill>
                    <a:srgbClr val="FFFFFF">
                      <a:lumMod val="50000"/>
                    </a:srgbClr>
                  </a:solidFill>
                  <a:latin typeface="微软雅黑" pitchFamily="34" charset="-122"/>
                  <a:sym typeface="Arial Bold" pitchFamily="34" charset="0"/>
                </a:rPr>
                <a:t>12</a:t>
              </a:r>
              <a:r>
                <a:rPr lang="en-US" altLang="zh-CN" sz="800" i="1" dirty="0">
                  <a:solidFill>
                    <a:srgbClr val="FFFFFF">
                      <a:lumMod val="50000"/>
                    </a:srgbClr>
                  </a:solidFill>
                  <a:latin typeface="微软雅黑" pitchFamily="34" charset="-122"/>
                  <a:sym typeface="Arial Bold" pitchFamily="34" charset="0"/>
                </a:rPr>
                <a:t>  </a:t>
              </a:r>
              <a:r>
                <a:rPr lang="zh-CN" altLang="en-US" sz="800" i="1" dirty="0">
                  <a:solidFill>
                    <a:srgbClr val="FFFFFF">
                      <a:lumMod val="50000"/>
                    </a:srgbClr>
                  </a:solidFill>
                  <a:latin typeface="微软雅黑" pitchFamily="34" charset="-122"/>
                  <a:sym typeface="Arial Bold" pitchFamily="34" charset="0"/>
                </a:rPr>
                <a:t>个月完成审批</a:t>
              </a:r>
              <a:endParaRPr lang="en-US" altLang="zh-CN" sz="800" i="1" dirty="0">
                <a:solidFill>
                  <a:srgbClr val="FFFFFF">
                    <a:lumMod val="50000"/>
                  </a:srgbClr>
                </a:solidFill>
                <a:latin typeface="微软雅黑" pitchFamily="34" charset="-122"/>
                <a:sym typeface="Arial Bold" pitchFamily="34" charset="0"/>
              </a:endParaRPr>
            </a:p>
          </p:txBody>
        </p:sp>
        <p:grpSp>
          <p:nvGrpSpPr>
            <p:cNvPr id="50" name="组合 11"/>
            <p:cNvGrpSpPr>
              <a:grpSpLocks/>
            </p:cNvGrpSpPr>
            <p:nvPr/>
          </p:nvGrpSpPr>
          <p:grpSpPr bwMode="auto">
            <a:xfrm>
              <a:off x="5355867" y="4708796"/>
              <a:ext cx="1337221" cy="954107"/>
              <a:chOff x="2296720" y="3879837"/>
              <a:chExt cx="1570515" cy="1145002"/>
            </a:xfrm>
          </p:grpSpPr>
          <p:sp>
            <p:nvSpPr>
              <p:cNvPr id="52" name="矩形 130"/>
              <p:cNvSpPr>
                <a:spLocks noChangeArrowheads="1"/>
              </p:cNvSpPr>
              <p:nvPr/>
            </p:nvSpPr>
            <p:spPr bwMode="auto">
              <a:xfrm>
                <a:off x="2676234" y="3879837"/>
                <a:ext cx="1191001" cy="1145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0" fontAlgn="base" hangingPunct="0">
                  <a:spcBef>
                    <a:spcPct val="0"/>
                  </a:spcBef>
                  <a:spcAft>
                    <a:spcPct val="0"/>
                  </a:spcAft>
                </a:pPr>
                <a:r>
                  <a:rPr lang="en-US" altLang="zh-CN" sz="1400" b="1" i="1" dirty="0">
                    <a:solidFill>
                      <a:srgbClr val="FFFFFF">
                        <a:lumMod val="50000"/>
                      </a:srgbClr>
                    </a:solidFill>
                    <a:latin typeface="微软雅黑" pitchFamily="34" charset="-122"/>
                    <a:sym typeface="Arial Bold" pitchFamily="34" charset="0"/>
                  </a:rPr>
                  <a:t>1</a:t>
                </a:r>
                <a:r>
                  <a:rPr lang="en-US" altLang="zh-CN" sz="800" b="1" i="1" dirty="0">
                    <a:solidFill>
                      <a:srgbClr val="FFFFFF">
                        <a:lumMod val="50000"/>
                      </a:srgbClr>
                    </a:solidFill>
                    <a:latin typeface="微软雅黑" pitchFamily="34" charset="-122"/>
                    <a:sym typeface="Arial Bold" pitchFamily="34" charset="0"/>
                  </a:rPr>
                  <a:t> </a:t>
                </a:r>
                <a:r>
                  <a:rPr lang="zh-CN" altLang="en-US" sz="800" i="1" dirty="0">
                    <a:solidFill>
                      <a:srgbClr val="FFFFFF">
                        <a:lumMod val="50000"/>
                      </a:srgbClr>
                    </a:solidFill>
                    <a:latin typeface="微软雅黑" pitchFamily="34" charset="-122"/>
                    <a:sym typeface="Arial Bold" pitchFamily="34" charset="0"/>
                  </a:rPr>
                  <a:t>个品牌</a:t>
                </a:r>
                <a:endParaRPr lang="en-US" altLang="zh-CN" sz="800" i="1" dirty="0">
                  <a:solidFill>
                    <a:srgbClr val="FFFFFF">
                      <a:lumMod val="50000"/>
                    </a:srgbClr>
                  </a:solidFill>
                  <a:latin typeface="微软雅黑" pitchFamily="34" charset="-122"/>
                  <a:sym typeface="Arial Bold" pitchFamily="34" charset="0"/>
                </a:endParaRPr>
              </a:p>
              <a:p>
                <a:pPr algn="ctr" eaLnBrk="0" fontAlgn="base" hangingPunct="0">
                  <a:spcBef>
                    <a:spcPct val="0"/>
                  </a:spcBef>
                  <a:spcAft>
                    <a:spcPct val="0"/>
                  </a:spcAft>
                </a:pPr>
                <a:r>
                  <a:rPr lang="en-US" altLang="zh-CN" sz="1400" b="1" i="1" dirty="0">
                    <a:solidFill>
                      <a:srgbClr val="FFFFFF">
                        <a:lumMod val="50000"/>
                      </a:srgbClr>
                    </a:solidFill>
                    <a:latin typeface="微软雅黑" pitchFamily="34" charset="-122"/>
                    <a:sym typeface="Arial Bold" pitchFamily="34" charset="0"/>
                  </a:rPr>
                  <a:t>2</a:t>
                </a:r>
                <a:r>
                  <a:rPr lang="en-US" altLang="zh-CN" sz="800" i="1" dirty="0">
                    <a:solidFill>
                      <a:srgbClr val="FFFFFF">
                        <a:lumMod val="50000"/>
                      </a:srgbClr>
                    </a:solidFill>
                    <a:latin typeface="微软雅黑" pitchFamily="34" charset="-122"/>
                    <a:sym typeface="Arial Bold" pitchFamily="34" charset="0"/>
                  </a:rPr>
                  <a:t> </a:t>
                </a:r>
                <a:r>
                  <a:rPr lang="zh-CN" altLang="en-US" sz="800" i="1" dirty="0">
                    <a:solidFill>
                      <a:srgbClr val="FFFFFF">
                        <a:lumMod val="50000"/>
                      </a:srgbClr>
                    </a:solidFill>
                    <a:latin typeface="微软雅黑" pitchFamily="34" charset="-122"/>
                    <a:sym typeface="Arial Bold" pitchFamily="34" charset="0"/>
                  </a:rPr>
                  <a:t>个中心</a:t>
                </a:r>
                <a:endParaRPr lang="en-US" altLang="zh-CN" sz="800" i="1" dirty="0">
                  <a:solidFill>
                    <a:srgbClr val="FFFFFF">
                      <a:lumMod val="50000"/>
                    </a:srgbClr>
                  </a:solidFill>
                  <a:latin typeface="微软雅黑" pitchFamily="34" charset="-122"/>
                  <a:sym typeface="Arial Bold" pitchFamily="34" charset="0"/>
                </a:endParaRPr>
              </a:p>
              <a:p>
                <a:pPr algn="ctr" eaLnBrk="0" fontAlgn="base" hangingPunct="0">
                  <a:spcBef>
                    <a:spcPct val="0"/>
                  </a:spcBef>
                  <a:spcAft>
                    <a:spcPct val="0"/>
                  </a:spcAft>
                </a:pPr>
                <a:r>
                  <a:rPr lang="en-US" altLang="zh-CN" sz="1400" b="1" i="1" dirty="0">
                    <a:solidFill>
                      <a:srgbClr val="FFFFFF">
                        <a:lumMod val="50000"/>
                      </a:srgbClr>
                    </a:solidFill>
                    <a:latin typeface="微软雅黑" pitchFamily="34" charset="-122"/>
                    <a:sym typeface="Arial Bold" pitchFamily="34" charset="0"/>
                  </a:rPr>
                  <a:t>3</a:t>
                </a:r>
                <a:r>
                  <a:rPr lang="en-US" altLang="zh-CN" sz="800" i="1" dirty="0">
                    <a:solidFill>
                      <a:srgbClr val="FFFFFF">
                        <a:lumMod val="50000"/>
                      </a:srgbClr>
                    </a:solidFill>
                    <a:latin typeface="微软雅黑" pitchFamily="34" charset="-122"/>
                    <a:sym typeface="Arial Bold" pitchFamily="34" charset="0"/>
                  </a:rPr>
                  <a:t> </a:t>
                </a:r>
                <a:r>
                  <a:rPr lang="zh-CN" altLang="en-US" sz="800" i="1" dirty="0">
                    <a:solidFill>
                      <a:srgbClr val="FFFFFF">
                        <a:lumMod val="50000"/>
                      </a:srgbClr>
                    </a:solidFill>
                    <a:latin typeface="微软雅黑" pitchFamily="34" charset="-122"/>
                    <a:sym typeface="Arial Bold" pitchFamily="34" charset="0"/>
                  </a:rPr>
                  <a:t>个工厂</a:t>
                </a:r>
                <a:endParaRPr lang="en-US" altLang="zh-CN" sz="800" i="1" dirty="0">
                  <a:solidFill>
                    <a:srgbClr val="FFFFFF">
                      <a:lumMod val="50000"/>
                    </a:srgbClr>
                  </a:solidFill>
                  <a:latin typeface="微软雅黑" pitchFamily="34" charset="-122"/>
                  <a:sym typeface="Arial Bold" pitchFamily="34" charset="0"/>
                </a:endParaRPr>
              </a:p>
              <a:p>
                <a:pPr algn="ctr" eaLnBrk="0" fontAlgn="base" hangingPunct="0">
                  <a:spcBef>
                    <a:spcPct val="0"/>
                  </a:spcBef>
                  <a:spcAft>
                    <a:spcPct val="0"/>
                  </a:spcAft>
                </a:pPr>
                <a:r>
                  <a:rPr lang="en-US" altLang="zh-CN" sz="1400" b="1" i="1" dirty="0">
                    <a:solidFill>
                      <a:srgbClr val="FFFFFF">
                        <a:lumMod val="50000"/>
                      </a:srgbClr>
                    </a:solidFill>
                    <a:latin typeface="微软雅黑" pitchFamily="34" charset="-122"/>
                    <a:sym typeface="Arial Bold" pitchFamily="34" charset="0"/>
                  </a:rPr>
                  <a:t>5</a:t>
                </a:r>
                <a:r>
                  <a:rPr lang="en-US" altLang="zh-CN" sz="800" b="1" i="1" dirty="0">
                    <a:solidFill>
                      <a:srgbClr val="FFFFFF">
                        <a:lumMod val="50000"/>
                      </a:srgbClr>
                    </a:solidFill>
                    <a:latin typeface="微软雅黑" pitchFamily="34" charset="-122"/>
                    <a:sym typeface="Arial Bold" pitchFamily="34" charset="0"/>
                  </a:rPr>
                  <a:t> </a:t>
                </a:r>
                <a:r>
                  <a:rPr lang="zh-CN" altLang="en-US" sz="800" i="1" dirty="0">
                    <a:solidFill>
                      <a:srgbClr val="FFFFFF">
                        <a:lumMod val="50000"/>
                      </a:srgbClr>
                    </a:solidFill>
                    <a:latin typeface="微软雅黑" pitchFamily="34" charset="-122"/>
                    <a:sym typeface="Arial Bold" pitchFamily="34" charset="0"/>
                  </a:rPr>
                  <a:t>个产品</a:t>
                </a:r>
                <a:endParaRPr lang="en-US" altLang="zh-CN" sz="800" i="1" dirty="0">
                  <a:solidFill>
                    <a:srgbClr val="FFFFFF">
                      <a:lumMod val="50000"/>
                    </a:srgbClr>
                  </a:solidFill>
                  <a:latin typeface="微软雅黑" pitchFamily="34" charset="-122"/>
                  <a:sym typeface="Arial Bold" pitchFamily="34" charset="0"/>
                </a:endParaRPr>
              </a:p>
            </p:txBody>
          </p:sp>
          <p:sp>
            <p:nvSpPr>
              <p:cNvPr id="53" name="矩形 129"/>
              <p:cNvSpPr>
                <a:spLocks noChangeArrowheads="1"/>
              </p:cNvSpPr>
              <p:nvPr/>
            </p:nvSpPr>
            <p:spPr bwMode="auto">
              <a:xfrm>
                <a:off x="2296720" y="4290585"/>
                <a:ext cx="514938" cy="406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fontAlgn="base" hangingPunct="0">
                  <a:spcBef>
                    <a:spcPct val="0"/>
                  </a:spcBef>
                  <a:spcAft>
                    <a:spcPct val="0"/>
                  </a:spcAft>
                </a:pPr>
                <a:r>
                  <a:rPr lang="zh-CN" altLang="en-US" sz="800" i="1" dirty="0">
                    <a:solidFill>
                      <a:srgbClr val="FFFFFF">
                        <a:lumMod val="50000"/>
                      </a:srgbClr>
                    </a:solidFill>
                    <a:latin typeface="微软雅黑" pitchFamily="34" charset="-122"/>
                    <a:sym typeface="Arial Bold" pitchFamily="34" charset="0"/>
                  </a:rPr>
                  <a:t>同步</a:t>
                </a:r>
                <a:endParaRPr lang="en-US" altLang="zh-CN" sz="800" i="1" dirty="0">
                  <a:solidFill>
                    <a:srgbClr val="FFFFFF">
                      <a:lumMod val="50000"/>
                    </a:srgbClr>
                  </a:solidFill>
                  <a:latin typeface="微软雅黑" pitchFamily="34" charset="-122"/>
                  <a:sym typeface="Arial Bold" pitchFamily="34" charset="0"/>
                </a:endParaRPr>
              </a:p>
              <a:p>
                <a:pPr eaLnBrk="0" fontAlgn="base" hangingPunct="0">
                  <a:spcBef>
                    <a:spcPct val="0"/>
                  </a:spcBef>
                  <a:spcAft>
                    <a:spcPct val="0"/>
                  </a:spcAft>
                </a:pPr>
                <a:r>
                  <a:rPr lang="zh-CN" altLang="en-US" sz="800" i="1" dirty="0">
                    <a:solidFill>
                      <a:srgbClr val="FFFFFF">
                        <a:lumMod val="50000"/>
                      </a:srgbClr>
                    </a:solidFill>
                    <a:latin typeface="微软雅黑" pitchFamily="34" charset="-122"/>
                    <a:sym typeface="Arial Bold" pitchFamily="34" charset="0"/>
                  </a:rPr>
                  <a:t>推进</a:t>
                </a:r>
                <a:endParaRPr lang="en-US" altLang="zh-CN" sz="800" i="1" dirty="0">
                  <a:solidFill>
                    <a:srgbClr val="FFFFFF">
                      <a:lumMod val="50000"/>
                    </a:srgbClr>
                  </a:solidFill>
                  <a:latin typeface="微软雅黑" pitchFamily="34" charset="-122"/>
                  <a:sym typeface="Arial Bold" pitchFamily="34" charset="0"/>
                </a:endParaRPr>
              </a:p>
            </p:txBody>
          </p:sp>
          <p:sp>
            <p:nvSpPr>
              <p:cNvPr id="55" name="左大括号 54"/>
              <p:cNvSpPr/>
              <p:nvPr/>
            </p:nvSpPr>
            <p:spPr bwMode="auto">
              <a:xfrm>
                <a:off x="2869199" y="3951851"/>
                <a:ext cx="96378" cy="974789"/>
              </a:xfrm>
              <a:prstGeom prst="leftBrace">
                <a:avLst/>
              </a:prstGeom>
              <a:noFill/>
              <a:ln w="3175" cap="flat" cmpd="sng" algn="ctr">
                <a:solidFill>
                  <a:schemeClr val="tx1">
                    <a:lumMod val="75000"/>
                    <a:lumOff val="25000"/>
                  </a:schemeClr>
                </a:solidFill>
                <a:prstDash val="solid"/>
                <a:round/>
                <a:headEnd type="none" w="med" len="med"/>
                <a:tailEnd type="none" w="med" len="med"/>
              </a:ln>
              <a:effectLst/>
              <a:extLst/>
            </p:spPr>
            <p:txBody>
              <a:bodyPr/>
              <a:lstStyle/>
              <a:p>
                <a:pPr eaLnBrk="0" fontAlgn="base" hangingPunct="0">
                  <a:spcBef>
                    <a:spcPct val="0"/>
                  </a:spcBef>
                  <a:spcAft>
                    <a:spcPct val="0"/>
                  </a:spcAft>
                  <a:defRPr/>
                </a:pPr>
                <a:endParaRPr lang="zh-CN" altLang="en-US" sz="1400" i="1">
                  <a:solidFill>
                    <a:srgbClr val="FFFFFF">
                      <a:lumMod val="50000"/>
                    </a:srgbClr>
                  </a:solidFill>
                  <a:latin typeface="微软雅黑" pitchFamily="34" charset="-122"/>
                  <a:sym typeface="Arial Bold" charset="0"/>
                </a:endParaRPr>
              </a:p>
            </p:txBody>
          </p:sp>
        </p:grpSp>
        <p:sp>
          <p:nvSpPr>
            <p:cNvPr id="74" name="矩形 132"/>
            <p:cNvSpPr>
              <a:spLocks noChangeArrowheads="1"/>
            </p:cNvSpPr>
            <p:nvPr/>
          </p:nvSpPr>
          <p:spPr bwMode="auto">
            <a:xfrm>
              <a:off x="6712691" y="4843444"/>
              <a:ext cx="1809030"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0" fontAlgn="base" hangingPunct="0">
                <a:spcBef>
                  <a:spcPct val="0"/>
                </a:spcBef>
                <a:spcAft>
                  <a:spcPct val="0"/>
                </a:spcAft>
              </a:pPr>
              <a:r>
                <a:rPr lang="en-US" altLang="zh-CN" sz="1400" b="1" i="1" dirty="0">
                  <a:solidFill>
                    <a:srgbClr val="FFFFFF">
                      <a:lumMod val="50000"/>
                    </a:srgbClr>
                  </a:solidFill>
                  <a:latin typeface="微软雅黑" pitchFamily="34" charset="-122"/>
                  <a:sym typeface="Arial Bold" pitchFamily="34" charset="0"/>
                </a:rPr>
                <a:t>22</a:t>
              </a:r>
              <a:r>
                <a:rPr lang="en-US" altLang="zh-CN" sz="1400" i="1" dirty="0">
                  <a:solidFill>
                    <a:srgbClr val="FFFFFF">
                      <a:lumMod val="50000"/>
                    </a:srgbClr>
                  </a:solidFill>
                  <a:latin typeface="微软雅黑" pitchFamily="34" charset="-122"/>
                  <a:sym typeface="Arial Bold" pitchFamily="34" charset="0"/>
                </a:rPr>
                <a:t> </a:t>
              </a:r>
              <a:r>
                <a:rPr lang="zh-CN" altLang="en-US" sz="1000" i="1" dirty="0">
                  <a:solidFill>
                    <a:srgbClr val="FFFFFF">
                      <a:lumMod val="50000"/>
                    </a:srgbClr>
                  </a:solidFill>
                  <a:latin typeface="微软雅黑" pitchFamily="34" charset="-122"/>
                  <a:sym typeface="Arial Bold" pitchFamily="34" charset="0"/>
                </a:rPr>
                <a:t>个月实现投产上市</a:t>
              </a:r>
              <a:endParaRPr lang="en-US" altLang="zh-CN" sz="1000" b="1" i="1" dirty="0">
                <a:solidFill>
                  <a:srgbClr val="FFFFFF">
                    <a:lumMod val="50000"/>
                  </a:srgbClr>
                </a:solidFill>
                <a:latin typeface="微软雅黑" pitchFamily="34" charset="-122"/>
                <a:sym typeface="Arial Bold" pitchFamily="34" charset="0"/>
              </a:endParaRPr>
            </a:p>
            <a:p>
              <a:pPr eaLnBrk="0" fontAlgn="base" hangingPunct="0">
                <a:spcBef>
                  <a:spcPct val="0"/>
                </a:spcBef>
                <a:spcAft>
                  <a:spcPct val="0"/>
                </a:spcAft>
              </a:pPr>
              <a:r>
                <a:rPr lang="en-US" altLang="zh-CN" sz="1400" b="1" i="1" dirty="0">
                  <a:solidFill>
                    <a:srgbClr val="FFFFFF">
                      <a:lumMod val="50000"/>
                    </a:srgbClr>
                  </a:solidFill>
                  <a:latin typeface="微软雅黑" pitchFamily="34" charset="-122"/>
                  <a:sym typeface="Arial Bold" pitchFamily="34" charset="0"/>
                </a:rPr>
                <a:t>3</a:t>
              </a:r>
              <a:r>
                <a:rPr lang="en-US" altLang="zh-CN" sz="800" i="1" dirty="0">
                  <a:solidFill>
                    <a:srgbClr val="FFFFFF">
                      <a:lumMod val="50000"/>
                    </a:srgbClr>
                  </a:solidFill>
                  <a:latin typeface="微软雅黑" pitchFamily="34" charset="-122"/>
                  <a:sym typeface="Arial Bold" pitchFamily="34" charset="0"/>
                </a:rPr>
                <a:t> </a:t>
              </a:r>
              <a:r>
                <a:rPr lang="zh-CN" altLang="en-US" sz="800" i="1" dirty="0">
                  <a:solidFill>
                    <a:srgbClr val="FFFFFF">
                      <a:lumMod val="50000"/>
                    </a:srgbClr>
                  </a:solidFill>
                  <a:latin typeface="微软雅黑" pitchFamily="34" charset="-122"/>
                  <a:sym typeface="Arial Bold" pitchFamily="34" charset="0"/>
                </a:rPr>
                <a:t>个产品</a:t>
              </a:r>
              <a:r>
                <a:rPr lang="en-US" altLang="zh-CN" sz="800" i="1" dirty="0">
                  <a:solidFill>
                    <a:srgbClr val="FFFFFF">
                      <a:lumMod val="50000"/>
                    </a:srgbClr>
                  </a:solidFill>
                  <a:latin typeface="微软雅黑" pitchFamily="34" charset="-122"/>
                  <a:sym typeface="Arial Bold" pitchFamily="34" charset="0"/>
                </a:rPr>
                <a:t>12</a:t>
              </a:r>
              <a:r>
                <a:rPr lang="zh-CN" altLang="en-US" sz="800" i="1" dirty="0">
                  <a:solidFill>
                    <a:srgbClr val="FFFFFF">
                      <a:lumMod val="50000"/>
                    </a:srgbClr>
                  </a:solidFill>
                  <a:latin typeface="微软雅黑" pitchFamily="34" charset="-122"/>
                  <a:sym typeface="Arial Bold" pitchFamily="34" charset="0"/>
                </a:rPr>
                <a:t>月内推出</a:t>
              </a:r>
              <a:endParaRPr lang="en-US" altLang="zh-CN" sz="800" i="1" dirty="0">
                <a:solidFill>
                  <a:srgbClr val="FFFFFF">
                    <a:lumMod val="50000"/>
                  </a:srgbClr>
                </a:solidFill>
                <a:latin typeface="微软雅黑" pitchFamily="34" charset="-122"/>
                <a:sym typeface="Arial Bold" pitchFamily="34" charset="0"/>
              </a:endParaRPr>
            </a:p>
            <a:p>
              <a:pPr eaLnBrk="0" fontAlgn="base" hangingPunct="0">
                <a:spcBef>
                  <a:spcPct val="0"/>
                </a:spcBef>
                <a:spcAft>
                  <a:spcPct val="0"/>
                </a:spcAft>
              </a:pPr>
              <a:r>
                <a:rPr lang="en-US" altLang="zh-CN" sz="800" i="1" dirty="0">
                  <a:solidFill>
                    <a:srgbClr val="FFFFFF">
                      <a:lumMod val="50000"/>
                    </a:srgbClr>
                  </a:solidFill>
                  <a:latin typeface="微软雅黑" pitchFamily="34" charset="-122"/>
                  <a:sym typeface="Arial Bold" pitchFamily="34" charset="0"/>
                </a:rPr>
                <a:t>DS</a:t>
              </a:r>
              <a:r>
                <a:rPr lang="zh-CN" altLang="en-US" sz="800" i="1" dirty="0">
                  <a:solidFill>
                    <a:srgbClr val="FFFFFF">
                      <a:lumMod val="50000"/>
                    </a:srgbClr>
                  </a:solidFill>
                  <a:latin typeface="微软雅黑" pitchFamily="34" charset="-122"/>
                  <a:sym typeface="Arial Bold" pitchFamily="34" charset="0"/>
                </a:rPr>
                <a:t>品牌持续提升到豪华车</a:t>
              </a:r>
              <a:r>
                <a:rPr lang="zh-CN" altLang="en-US" sz="1100" b="1" i="1" dirty="0">
                  <a:solidFill>
                    <a:srgbClr val="FFFFFF">
                      <a:lumMod val="50000"/>
                    </a:srgbClr>
                  </a:solidFill>
                  <a:latin typeface="微软雅黑" pitchFamily="34" charset="-122"/>
                  <a:sym typeface="Arial Bold" pitchFamily="34" charset="0"/>
                </a:rPr>
                <a:t>第十名</a:t>
              </a:r>
              <a:endParaRPr lang="en-US" altLang="zh-CN" sz="1100" b="1" i="1" dirty="0">
                <a:solidFill>
                  <a:srgbClr val="FFFFFF">
                    <a:lumMod val="50000"/>
                  </a:srgbClr>
                </a:solidFill>
                <a:latin typeface="微软雅黑" pitchFamily="34" charset="-122"/>
                <a:sym typeface="Arial Bold" pitchFamily="34" charset="0"/>
              </a:endParaRPr>
            </a:p>
          </p:txBody>
        </p:sp>
      </p:grpSp>
      <p:sp>
        <p:nvSpPr>
          <p:cNvPr id="83" name="灯片编号占位符 1"/>
          <p:cNvSpPr>
            <a:spLocks noGrp="1"/>
          </p:cNvSpPr>
          <p:nvPr>
            <p:ph type="sldNum" sz="quarter" idx="4294967295"/>
          </p:nvPr>
        </p:nvSpPr>
        <p:spPr>
          <a:xfrm>
            <a:off x="8966982" y="5343263"/>
            <a:ext cx="360485"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6C54AB4-FD64-4F86-9BF0-7210CD94CCAC}" type="slidenum">
              <a:rPr lang="zh-CN" altLang="en-US" sz="1000">
                <a:solidFill>
                  <a:srgbClr val="7F7F7F"/>
                </a:solidFill>
                <a:latin typeface="微软雅黑" pitchFamily="34" charset="-122"/>
                <a:ea typeface="微软雅黑" pitchFamily="34" charset="-122"/>
              </a:rPr>
              <a:pPr/>
              <a:t>5</a:t>
            </a:fld>
            <a:endParaRPr lang="zh-CN" altLang="en-US" sz="1000" dirty="0">
              <a:solidFill>
                <a:srgbClr val="7F7F7F"/>
              </a:solidFill>
              <a:latin typeface="微软雅黑" pitchFamily="34" charset="-122"/>
              <a:ea typeface="微软雅黑" pitchFamily="34" charset="-122"/>
            </a:endParaRPr>
          </a:p>
        </p:txBody>
      </p:sp>
      <p:sp>
        <p:nvSpPr>
          <p:cNvPr id="40" name="椭圆 39"/>
          <p:cNvSpPr/>
          <p:nvPr/>
        </p:nvSpPr>
        <p:spPr>
          <a:xfrm>
            <a:off x="3592233" y="3173880"/>
            <a:ext cx="115671" cy="115671"/>
          </a:xfrm>
          <a:prstGeom prst="ellipse">
            <a:avLst/>
          </a:prstGeom>
          <a:gradFill>
            <a:gsLst>
              <a:gs pos="0">
                <a:schemeClr val="bg1">
                  <a:lumMod val="75000"/>
                </a:schemeClr>
              </a:gs>
              <a:gs pos="50000">
                <a:schemeClr val="bg1">
                  <a:lumMod val="65000"/>
                </a:schemeClr>
              </a:gs>
              <a:gs pos="100000">
                <a:schemeClr val="accent1">
                  <a:tint val="23500"/>
                  <a:satMod val="160000"/>
                  <a:alpha val="0"/>
                </a:schemeClr>
              </a:gs>
            </a:gsLst>
            <a:lin ang="54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05" tIns="45703" rIns="91405" bIns="45703" rtlCol="0" anchor="ctr"/>
          <a:lstStyle/>
          <a:p>
            <a:pPr algn="ctr" fontAlgn="base">
              <a:spcBef>
                <a:spcPct val="0"/>
              </a:spcBef>
              <a:spcAft>
                <a:spcPct val="0"/>
              </a:spcAft>
            </a:pPr>
            <a:endParaRPr lang="zh-CN" altLang="en-US" sz="1100">
              <a:solidFill>
                <a:srgbClr val="FFFFFF"/>
              </a:solidFill>
              <a:sym typeface="Arial Bold" charset="0"/>
            </a:endParaRPr>
          </a:p>
        </p:txBody>
      </p:sp>
      <p:sp>
        <p:nvSpPr>
          <p:cNvPr id="42" name="椭圆 41"/>
          <p:cNvSpPr/>
          <p:nvPr/>
        </p:nvSpPr>
        <p:spPr>
          <a:xfrm>
            <a:off x="5369631" y="3361559"/>
            <a:ext cx="115671" cy="115671"/>
          </a:xfrm>
          <a:prstGeom prst="ellipse">
            <a:avLst/>
          </a:prstGeom>
          <a:gradFill>
            <a:gsLst>
              <a:gs pos="0">
                <a:schemeClr val="bg1">
                  <a:lumMod val="75000"/>
                </a:schemeClr>
              </a:gs>
              <a:gs pos="50000">
                <a:schemeClr val="bg1">
                  <a:lumMod val="65000"/>
                </a:schemeClr>
              </a:gs>
              <a:gs pos="100000">
                <a:schemeClr val="accent1">
                  <a:tint val="23500"/>
                  <a:satMod val="160000"/>
                  <a:alpha val="0"/>
                </a:schemeClr>
              </a:gs>
            </a:gsLst>
            <a:lin ang="54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05" tIns="45703" rIns="91405" bIns="45703" rtlCol="0" anchor="ctr"/>
          <a:lstStyle/>
          <a:p>
            <a:pPr algn="ctr" fontAlgn="base">
              <a:spcBef>
                <a:spcPct val="0"/>
              </a:spcBef>
              <a:spcAft>
                <a:spcPct val="0"/>
              </a:spcAft>
            </a:pPr>
            <a:endParaRPr lang="zh-CN" altLang="en-US" sz="1100">
              <a:solidFill>
                <a:srgbClr val="FFFFFF"/>
              </a:solidFill>
              <a:sym typeface="Arial Bold" charset="0"/>
            </a:endParaRPr>
          </a:p>
        </p:txBody>
      </p:sp>
      <p:sp>
        <p:nvSpPr>
          <p:cNvPr id="43" name="矩形 42"/>
          <p:cNvSpPr/>
          <p:nvPr/>
        </p:nvSpPr>
        <p:spPr>
          <a:xfrm>
            <a:off x="7645118" y="3389211"/>
            <a:ext cx="1380300" cy="1034864"/>
          </a:xfrm>
          <a:prstGeom prst="rect">
            <a:avLst/>
          </a:prstGeom>
        </p:spPr>
        <p:txBody>
          <a:bodyPr wrap="square" lIns="91405" tIns="45703" rIns="91405" bIns="45703">
            <a:spAutoFit/>
          </a:bodyPr>
          <a:lstStyle/>
          <a:p>
            <a:pPr eaLnBrk="0" fontAlgn="base" hangingPunct="0">
              <a:lnSpc>
                <a:spcPct val="125000"/>
              </a:lnSpc>
              <a:spcBef>
                <a:spcPct val="0"/>
              </a:spcBef>
              <a:spcAft>
                <a:spcPct val="0"/>
              </a:spcAft>
              <a:defRPr/>
            </a:pPr>
            <a:r>
              <a:rPr lang="en-US" altLang="zh-CN" sz="900" dirty="0">
                <a:solidFill>
                  <a:srgbClr val="C00000"/>
                </a:solidFill>
                <a:latin typeface="微软雅黑" pitchFamily="34" charset="-122"/>
                <a:sym typeface="Arial Bold" charset="0"/>
              </a:rPr>
              <a:t>2017.07.06</a:t>
            </a:r>
            <a:endParaRPr lang="en-US" altLang="zh-CN" sz="900" dirty="0">
              <a:solidFill>
                <a:srgbClr val="000000">
                  <a:lumMod val="75000"/>
                  <a:lumOff val="25000"/>
                </a:srgbClr>
              </a:solidFill>
              <a:latin typeface="微软雅黑" pitchFamily="34" charset="-122"/>
              <a:sym typeface="Arial Bold" charset="0"/>
            </a:endParaRPr>
          </a:p>
          <a:p>
            <a:pPr eaLnBrk="0" fontAlgn="base" hangingPunct="0">
              <a:lnSpc>
                <a:spcPct val="125000"/>
              </a:lnSpc>
              <a:spcBef>
                <a:spcPct val="0"/>
              </a:spcBef>
              <a:spcAft>
                <a:spcPct val="0"/>
              </a:spcAft>
              <a:defRPr/>
            </a:pPr>
            <a:r>
              <a:rPr lang="zh-CN" altLang="en-US" sz="800" dirty="0">
                <a:solidFill>
                  <a:srgbClr val="000000">
                    <a:lumMod val="75000"/>
                    <a:lumOff val="25000"/>
                  </a:srgbClr>
                </a:solidFill>
                <a:latin typeface="微软雅黑" pitchFamily="34" charset="-122"/>
                <a:sym typeface="Arial Bold" charset="0"/>
              </a:rPr>
              <a:t>长安</a:t>
            </a:r>
            <a:r>
              <a:rPr lang="en-US" altLang="zh-CN" sz="800" dirty="0">
                <a:solidFill>
                  <a:srgbClr val="000000">
                    <a:lumMod val="75000"/>
                    <a:lumOff val="25000"/>
                  </a:srgbClr>
                </a:solidFill>
                <a:latin typeface="微软雅黑" pitchFamily="34" charset="-122"/>
                <a:sym typeface="Arial Bold" charset="0"/>
              </a:rPr>
              <a:t>PSA</a:t>
            </a:r>
            <a:r>
              <a:rPr lang="zh-CN" altLang="en-US" sz="800" dirty="0">
                <a:solidFill>
                  <a:srgbClr val="000000">
                    <a:lumMod val="75000"/>
                    <a:lumOff val="25000"/>
                  </a:srgbClr>
                </a:solidFill>
                <a:latin typeface="微软雅黑" pitchFamily="34" charset="-122"/>
                <a:sym typeface="Arial Bold" charset="0"/>
              </a:rPr>
              <a:t>深化战略合作</a:t>
            </a:r>
            <a:r>
              <a:rPr lang="en-US" altLang="zh-CN" sz="800" dirty="0" err="1">
                <a:solidFill>
                  <a:srgbClr val="000000">
                    <a:lumMod val="75000"/>
                    <a:lumOff val="25000"/>
                  </a:srgbClr>
                </a:solidFill>
                <a:latin typeface="微软雅黑" pitchFamily="34" charset="-122"/>
                <a:sym typeface="Arial Bold" charset="0"/>
              </a:rPr>
              <a:t>Changan&amp;PSA</a:t>
            </a:r>
            <a:r>
              <a:rPr lang="en-US" altLang="zh-CN" sz="800" dirty="0">
                <a:solidFill>
                  <a:srgbClr val="000000">
                    <a:lumMod val="75000"/>
                    <a:lumOff val="25000"/>
                  </a:srgbClr>
                </a:solidFill>
                <a:latin typeface="微软雅黑" pitchFamily="34" charset="-122"/>
                <a:sym typeface="Arial Bold" charset="0"/>
              </a:rPr>
              <a:t> agreement on deepening strategic cooperation</a:t>
            </a:r>
          </a:p>
        </p:txBody>
      </p:sp>
      <p:sp>
        <p:nvSpPr>
          <p:cNvPr id="44" name="矩形 43"/>
          <p:cNvSpPr/>
          <p:nvPr/>
        </p:nvSpPr>
        <p:spPr>
          <a:xfrm>
            <a:off x="7431271" y="796839"/>
            <a:ext cx="1451760" cy="573200"/>
          </a:xfrm>
          <a:prstGeom prst="rect">
            <a:avLst/>
          </a:prstGeom>
        </p:spPr>
        <p:txBody>
          <a:bodyPr wrap="square" lIns="91405" tIns="45703" rIns="91405" bIns="45703">
            <a:spAutoFit/>
          </a:bodyPr>
          <a:lstStyle/>
          <a:p>
            <a:pPr eaLnBrk="0" fontAlgn="base" hangingPunct="0">
              <a:lnSpc>
                <a:spcPct val="125000"/>
              </a:lnSpc>
              <a:spcBef>
                <a:spcPct val="0"/>
              </a:spcBef>
              <a:spcAft>
                <a:spcPct val="0"/>
              </a:spcAft>
              <a:defRPr/>
            </a:pPr>
            <a:r>
              <a:rPr lang="en-US" altLang="zh-CN" sz="900" dirty="0">
                <a:solidFill>
                  <a:srgbClr val="C00000"/>
                </a:solidFill>
                <a:latin typeface="微软雅黑" pitchFamily="34" charset="-122"/>
                <a:sym typeface="Arial Bold" charset="0"/>
              </a:rPr>
              <a:t>2018.04.25</a:t>
            </a:r>
            <a:endParaRPr lang="en-US" altLang="zh-CN" sz="900" dirty="0">
              <a:solidFill>
                <a:srgbClr val="000000">
                  <a:lumMod val="75000"/>
                  <a:lumOff val="25000"/>
                </a:srgbClr>
              </a:solidFill>
              <a:latin typeface="微软雅黑" pitchFamily="34" charset="-122"/>
              <a:sym typeface="Arial Bold" charset="0"/>
            </a:endParaRPr>
          </a:p>
          <a:p>
            <a:pPr eaLnBrk="0" fontAlgn="base" hangingPunct="0">
              <a:lnSpc>
                <a:spcPct val="125000"/>
              </a:lnSpc>
              <a:spcBef>
                <a:spcPct val="0"/>
              </a:spcBef>
              <a:spcAft>
                <a:spcPct val="0"/>
              </a:spcAft>
              <a:defRPr/>
            </a:pPr>
            <a:r>
              <a:rPr lang="en-US" altLang="zh-CN" sz="800" dirty="0">
                <a:solidFill>
                  <a:srgbClr val="000000">
                    <a:lumMod val="75000"/>
                    <a:lumOff val="25000"/>
                  </a:srgbClr>
                </a:solidFill>
                <a:latin typeface="微软雅黑" pitchFamily="34" charset="-122"/>
                <a:sym typeface="Arial Bold" charset="0"/>
              </a:rPr>
              <a:t>DS7 </a:t>
            </a:r>
            <a:r>
              <a:rPr lang="zh-CN" altLang="en-US" sz="800" dirty="0">
                <a:solidFill>
                  <a:srgbClr val="000000">
                    <a:lumMod val="75000"/>
                    <a:lumOff val="25000"/>
                  </a:srgbClr>
                </a:solidFill>
                <a:latin typeface="微软雅黑" pitchFamily="34" charset="-122"/>
                <a:sym typeface="Arial Bold" charset="0"/>
              </a:rPr>
              <a:t>北京车</a:t>
            </a:r>
            <a:r>
              <a:rPr lang="zh-CN" altLang="en-US" sz="800" dirty="0" smtClean="0">
                <a:solidFill>
                  <a:srgbClr val="000000">
                    <a:lumMod val="75000"/>
                    <a:lumOff val="25000"/>
                  </a:srgbClr>
                </a:solidFill>
                <a:latin typeface="微软雅黑" pitchFamily="34" charset="-122"/>
                <a:sym typeface="Arial Bold" charset="0"/>
              </a:rPr>
              <a:t>展上市</a:t>
            </a:r>
            <a:endParaRPr lang="en-US" altLang="zh-CN" sz="800" dirty="0">
              <a:solidFill>
                <a:srgbClr val="000000">
                  <a:lumMod val="75000"/>
                  <a:lumOff val="25000"/>
                </a:srgbClr>
              </a:solidFill>
              <a:latin typeface="微软雅黑" pitchFamily="34" charset="-122"/>
              <a:sym typeface="Arial Bold" charset="0"/>
            </a:endParaRPr>
          </a:p>
          <a:p>
            <a:pPr eaLnBrk="0" fontAlgn="base" hangingPunct="0">
              <a:lnSpc>
                <a:spcPct val="125000"/>
              </a:lnSpc>
              <a:spcBef>
                <a:spcPct val="0"/>
              </a:spcBef>
              <a:spcAft>
                <a:spcPct val="0"/>
              </a:spcAft>
              <a:defRPr/>
            </a:pPr>
            <a:r>
              <a:rPr lang="en-US" altLang="zh-CN" sz="800" dirty="0">
                <a:solidFill>
                  <a:srgbClr val="000000">
                    <a:lumMod val="75000"/>
                    <a:lumOff val="25000"/>
                  </a:srgbClr>
                </a:solidFill>
                <a:latin typeface="微软雅黑" pitchFamily="34" charset="-122"/>
                <a:sym typeface="Arial Bold" charset="0"/>
              </a:rPr>
              <a:t>DS7 Launched</a:t>
            </a:r>
          </a:p>
        </p:txBody>
      </p:sp>
      <p:pic>
        <p:nvPicPr>
          <p:cNvPr id="1025" name="Picture 1" descr="C:\Users\c000257\AppData\Roaming\Tencent\Users\413468010\QQ\WinTemp\RichOle\A}R_{T{Z~PR_L}}6IV3642V.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7524328" y="2569469"/>
            <a:ext cx="1030862" cy="656783"/>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c000257\AppData\Roaming\Tencent\Users\413468010\QQ\WinTemp\RichOle\(I$KZGJCATAG_CR4(G%9WYP.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7586714" y="1343250"/>
            <a:ext cx="1016285" cy="613072"/>
          </a:xfrm>
          <a:prstGeom prst="rect">
            <a:avLst/>
          </a:prstGeom>
          <a:noFill/>
          <a:extLst>
            <a:ext uri="{909E8E84-426E-40DD-AFC4-6F175D3DCCD1}">
              <a14:hiddenFill xmlns:a14="http://schemas.microsoft.com/office/drawing/2010/main">
                <a:solidFill>
                  <a:srgbClr val="FFFFFF"/>
                </a:solidFill>
              </a14:hiddenFill>
            </a:ext>
          </a:extLst>
        </p:spPr>
      </p:pic>
      <p:sp>
        <p:nvSpPr>
          <p:cNvPr id="47" name="椭圆 46"/>
          <p:cNvSpPr/>
          <p:nvPr/>
        </p:nvSpPr>
        <p:spPr>
          <a:xfrm>
            <a:off x="6782741" y="2785495"/>
            <a:ext cx="115671" cy="115671"/>
          </a:xfrm>
          <a:prstGeom prst="ellipse">
            <a:avLst/>
          </a:prstGeom>
          <a:gradFill>
            <a:gsLst>
              <a:gs pos="0">
                <a:schemeClr val="bg1">
                  <a:lumMod val="75000"/>
                </a:schemeClr>
              </a:gs>
              <a:gs pos="50000">
                <a:schemeClr val="bg1">
                  <a:lumMod val="65000"/>
                </a:schemeClr>
              </a:gs>
              <a:gs pos="100000">
                <a:schemeClr val="accent1">
                  <a:tint val="23500"/>
                  <a:satMod val="160000"/>
                  <a:alpha val="0"/>
                </a:schemeClr>
              </a:gs>
            </a:gsLst>
            <a:lin ang="54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lIns="91405" tIns="45703" rIns="91405" bIns="45703" rtlCol="0" anchor="ctr"/>
          <a:lstStyle/>
          <a:p>
            <a:pPr algn="ctr" fontAlgn="base">
              <a:spcBef>
                <a:spcPct val="0"/>
              </a:spcBef>
              <a:spcAft>
                <a:spcPct val="0"/>
              </a:spcAft>
            </a:pPr>
            <a:endParaRPr lang="zh-CN" altLang="en-US" sz="1100">
              <a:solidFill>
                <a:srgbClr val="FFFFFF"/>
              </a:solidFill>
              <a:sym typeface="Arial Bold" charset="0"/>
            </a:endParaRPr>
          </a:p>
        </p:txBody>
      </p:sp>
      <p:sp>
        <p:nvSpPr>
          <p:cNvPr id="48" name="矩形 47"/>
          <p:cNvSpPr/>
          <p:nvPr/>
        </p:nvSpPr>
        <p:spPr>
          <a:xfrm>
            <a:off x="6365802" y="3749251"/>
            <a:ext cx="1279316" cy="1034864"/>
          </a:xfrm>
          <a:prstGeom prst="rect">
            <a:avLst/>
          </a:prstGeom>
        </p:spPr>
        <p:txBody>
          <a:bodyPr wrap="square" lIns="91405" tIns="45703" rIns="91405" bIns="45703">
            <a:spAutoFit/>
          </a:bodyPr>
          <a:lstStyle/>
          <a:p>
            <a:pPr eaLnBrk="0" fontAlgn="base" hangingPunct="0">
              <a:lnSpc>
                <a:spcPct val="125000"/>
              </a:lnSpc>
              <a:spcBef>
                <a:spcPct val="0"/>
              </a:spcBef>
              <a:spcAft>
                <a:spcPct val="0"/>
              </a:spcAft>
              <a:defRPr/>
            </a:pPr>
            <a:r>
              <a:rPr lang="en-US" altLang="zh-CN" sz="900" dirty="0">
                <a:solidFill>
                  <a:srgbClr val="C00000"/>
                </a:solidFill>
                <a:latin typeface="微软雅黑" pitchFamily="34" charset="-122"/>
                <a:sym typeface="Arial Bold" charset="0"/>
              </a:rPr>
              <a:t>2017.4.19</a:t>
            </a:r>
            <a:endParaRPr lang="en-US" altLang="zh-CN" sz="900" dirty="0">
              <a:solidFill>
                <a:srgbClr val="000000">
                  <a:lumMod val="75000"/>
                  <a:lumOff val="25000"/>
                </a:srgbClr>
              </a:solidFill>
              <a:latin typeface="微软雅黑" pitchFamily="34" charset="-122"/>
              <a:sym typeface="Arial Bold" charset="0"/>
            </a:endParaRPr>
          </a:p>
          <a:p>
            <a:pPr eaLnBrk="0" fontAlgn="base" hangingPunct="0">
              <a:lnSpc>
                <a:spcPct val="125000"/>
              </a:lnSpc>
              <a:spcBef>
                <a:spcPct val="0"/>
              </a:spcBef>
              <a:spcAft>
                <a:spcPct val="0"/>
              </a:spcAft>
              <a:defRPr/>
            </a:pPr>
            <a:r>
              <a:rPr lang="en-US" altLang="zh-CN" sz="800" dirty="0">
                <a:solidFill>
                  <a:srgbClr val="000000">
                    <a:lumMod val="75000"/>
                    <a:lumOff val="25000"/>
                  </a:srgbClr>
                </a:solidFill>
                <a:latin typeface="微软雅黑" pitchFamily="34" charset="-122"/>
                <a:sym typeface="Arial Bold" charset="0"/>
              </a:rPr>
              <a:t>DS</a:t>
            </a:r>
            <a:r>
              <a:rPr lang="zh-CN" altLang="en-US" sz="800" dirty="0">
                <a:solidFill>
                  <a:srgbClr val="000000">
                    <a:lumMod val="75000"/>
                    <a:lumOff val="25000"/>
                  </a:srgbClr>
                </a:solidFill>
                <a:latin typeface="微软雅黑" pitchFamily="34" charset="-122"/>
                <a:sym typeface="Arial Bold" charset="0"/>
              </a:rPr>
              <a:t>公布王凯为品牌新代言人</a:t>
            </a:r>
            <a:endParaRPr lang="en-US" altLang="zh-CN" sz="800" dirty="0">
              <a:solidFill>
                <a:srgbClr val="000000">
                  <a:lumMod val="75000"/>
                  <a:lumOff val="25000"/>
                </a:srgbClr>
              </a:solidFill>
              <a:latin typeface="微软雅黑" pitchFamily="34" charset="-122"/>
              <a:sym typeface="Arial Bold" charset="0"/>
            </a:endParaRPr>
          </a:p>
          <a:p>
            <a:pPr eaLnBrk="0" fontAlgn="base" hangingPunct="0">
              <a:lnSpc>
                <a:spcPct val="125000"/>
              </a:lnSpc>
              <a:spcBef>
                <a:spcPct val="0"/>
              </a:spcBef>
              <a:spcAft>
                <a:spcPct val="0"/>
              </a:spcAft>
              <a:defRPr/>
            </a:pPr>
            <a:r>
              <a:rPr lang="en-US" altLang="zh-CN" sz="800" dirty="0">
                <a:solidFill>
                  <a:srgbClr val="000000">
                    <a:lumMod val="75000"/>
                    <a:lumOff val="25000"/>
                  </a:srgbClr>
                </a:solidFill>
                <a:latin typeface="微软雅黑" pitchFamily="34" charset="-122"/>
                <a:sym typeface="Arial Bold" charset="0"/>
              </a:rPr>
              <a:t>DS announced Wang Kai become new ambassador</a:t>
            </a:r>
          </a:p>
        </p:txBody>
      </p:sp>
      <p:pic>
        <p:nvPicPr>
          <p:cNvPr id="1028" name="Picture 4"/>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367888" y="3157533"/>
            <a:ext cx="995811" cy="598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图片 5"/>
          <p:cNvPicPr>
            <a:picLocks noChangeAspect="1" noChangeArrowheads="1"/>
          </p:cNvPicPr>
          <p:nvPr/>
        </p:nvPicPr>
        <p:blipFill rotWithShape="1">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524328" y="117660"/>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50753733"/>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5"/>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697135" y="625254"/>
            <a:ext cx="1858643" cy="615531"/>
          </a:xfrm>
          <a:prstGeom prst="rect">
            <a:avLst/>
          </a:prstGeom>
          <a:noFill/>
        </p:spPr>
        <p:txBody>
          <a:bodyPr wrap="square" lIns="91419" tIns="45709" rIns="91419" bIns="45709" rtlCol="0">
            <a:spAutoFit/>
          </a:bodyPr>
          <a:lstStyle/>
          <a:p>
            <a:r>
              <a:rPr lang="zh-CN" altLang="en-US" sz="2000" b="1" dirty="0">
                <a:solidFill>
                  <a:srgbClr val="C00000"/>
                </a:solidFill>
                <a:latin typeface="微软雅黑" pitchFamily="34" charset="-122"/>
                <a:ea typeface="微软雅黑" pitchFamily="34" charset="-122"/>
              </a:rPr>
              <a:t>生产基地</a:t>
            </a:r>
            <a:endParaRPr lang="en-US" altLang="zh-CN" sz="2000" b="1" dirty="0">
              <a:solidFill>
                <a:srgbClr val="C00000"/>
              </a:solidFill>
              <a:latin typeface="微软雅黑" pitchFamily="34" charset="-122"/>
              <a:ea typeface="微软雅黑" pitchFamily="34" charset="-122"/>
            </a:endParaRPr>
          </a:p>
          <a:p>
            <a:r>
              <a:rPr lang="en-US" altLang="zh-CN" sz="1400" b="1" dirty="0">
                <a:solidFill>
                  <a:srgbClr val="C00000"/>
                </a:solidFill>
                <a:latin typeface="微软雅黑" pitchFamily="34" charset="-122"/>
                <a:ea typeface="微软雅黑" pitchFamily="34" charset="-122"/>
                <a:cs typeface="Arial" pitchFamily="34" charset="0"/>
                <a:sym typeface="MS PGothic" pitchFamily="34" charset="-128"/>
              </a:rPr>
              <a:t>Production </a:t>
            </a:r>
            <a:r>
              <a:rPr lang="en-US" altLang="zh-CN" sz="1400" b="1" dirty="0">
                <a:solidFill>
                  <a:srgbClr val="C00000"/>
                </a:solidFill>
                <a:latin typeface="微软雅黑" pitchFamily="34" charset="-122"/>
                <a:ea typeface="微软雅黑" pitchFamily="34" charset="-122"/>
                <a:cs typeface="Arial" pitchFamily="34" charset="0"/>
                <a:sym typeface="黑体" pitchFamily="49" charset="-122"/>
              </a:rPr>
              <a:t>Plant</a:t>
            </a:r>
          </a:p>
        </p:txBody>
      </p:sp>
      <p:sp>
        <p:nvSpPr>
          <p:cNvPr id="6"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grpSp>
        <p:nvGrpSpPr>
          <p:cNvPr id="2" name="组合 1"/>
          <p:cNvGrpSpPr/>
          <p:nvPr/>
        </p:nvGrpSpPr>
        <p:grpSpPr>
          <a:xfrm>
            <a:off x="1220419" y="1491631"/>
            <a:ext cx="6806126" cy="3763154"/>
            <a:chOff x="2949982" y="1743914"/>
            <a:chExt cx="5882259" cy="3374155"/>
          </a:xfrm>
        </p:grpSpPr>
        <p:pic>
          <p:nvPicPr>
            <p:cNvPr id="12" name="图片 5"/>
            <p:cNvPicPr>
              <a:picLocks noChangeAspect="1"/>
            </p:cNvPicPr>
            <p:nvPr/>
          </p:nvPicPr>
          <p:blipFill>
            <a:blip r:embed="rId3" cstate="print">
              <a:extLst>
                <a:ext uri="{28A0092B-C50C-407E-A947-70E740481C1C}">
                  <a14:useLocalDpi xmlns:a14="http://schemas.microsoft.com/office/drawing/2010/main" val="0"/>
                </a:ext>
              </a:extLst>
            </a:blip>
            <a:srcRect t="-2" r="1881" b="1553"/>
            <a:stretch>
              <a:fillRect/>
            </a:stretch>
          </p:blipFill>
          <p:spPr bwMode="auto">
            <a:xfrm>
              <a:off x="2949982" y="1743914"/>
              <a:ext cx="3280753" cy="2977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矩形 13"/>
            <p:cNvSpPr/>
            <p:nvPr/>
          </p:nvSpPr>
          <p:spPr>
            <a:xfrm>
              <a:off x="7287633" y="1826526"/>
              <a:ext cx="1522040" cy="132897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ltLang="zh-CN" sz="1600" dirty="0">
                <a:latin typeface="微软雅黑" panose="020B0503020204020204" pitchFamily="34" charset="-122"/>
                <a:ea typeface="微软雅黑" panose="020B0503020204020204" pitchFamily="34" charset="-122"/>
              </a:endParaRPr>
            </a:p>
            <a:p>
              <a:pPr algn="ctr" eaLnBrk="0" hangingPunct="0">
                <a:defRP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研发中心</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algn="ctr" eaLnBrk="0" hangingPunct="0">
                <a:defRPr/>
              </a:pPr>
              <a:r>
                <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rPr>
                <a:t>R&amp;D Center</a:t>
              </a:r>
            </a:p>
            <a:p>
              <a:pPr algn="ctr" eaLnBrk="0" hangingPunct="0">
                <a:defRP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物流中心</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algn="ctr" eaLnBrk="0" hangingPunct="0">
                <a:defRPr/>
              </a:pPr>
              <a:r>
                <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rPr>
                <a:t>PC&amp;L Center</a:t>
              </a:r>
            </a:p>
          </p:txBody>
        </p:sp>
        <p:sp>
          <p:nvSpPr>
            <p:cNvPr id="15" name="矩形 14"/>
            <p:cNvSpPr/>
            <p:nvPr/>
          </p:nvSpPr>
          <p:spPr>
            <a:xfrm>
              <a:off x="7298480" y="3667947"/>
              <a:ext cx="1511193" cy="145012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altLang="zh-CN" sz="1600" dirty="0">
                <a:latin typeface="微软雅黑" panose="020B0503020204020204" pitchFamily="34" charset="-122"/>
                <a:ea typeface="微软雅黑" panose="020B0503020204020204" pitchFamily="34" charset="-122"/>
              </a:endParaRPr>
            </a:p>
            <a:p>
              <a:pPr algn="ctr" eaLnBrk="0" hangingPunct="0">
                <a:defRP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整车工厂</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algn="ctr" eaLnBrk="0" hangingPunct="0">
                <a:defRPr/>
              </a:pPr>
              <a:r>
                <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rPr>
                <a:t>Vehicle Plant</a:t>
              </a:r>
            </a:p>
            <a:p>
              <a:pPr algn="ctr" eaLnBrk="0" hangingPunct="0">
                <a:defRPr/>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发动机工厂</a:t>
              </a:r>
              <a:endPar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endParaRPr>
            </a:p>
            <a:p>
              <a:pPr algn="ctr" eaLnBrk="0" hangingPunct="0">
                <a:defRPr/>
              </a:pPr>
              <a:r>
                <a:rPr lang="en-US" altLang="zh-CN" sz="1200" dirty="0">
                  <a:solidFill>
                    <a:schemeClr val="tx1">
                      <a:lumMod val="75000"/>
                      <a:lumOff val="25000"/>
                    </a:schemeClr>
                  </a:solidFill>
                  <a:latin typeface="微软雅黑" panose="020B0503020204020204" pitchFamily="34" charset="-122"/>
                  <a:ea typeface="微软雅黑" panose="020B0503020204020204" pitchFamily="34" charset="-122"/>
                </a:rPr>
                <a:t>Powertrain Plant</a:t>
              </a:r>
            </a:p>
          </p:txBody>
        </p:sp>
        <p:cxnSp>
          <p:nvCxnSpPr>
            <p:cNvPr id="20" name="直接连接符 15"/>
            <p:cNvCxnSpPr>
              <a:cxnSpLocks noChangeShapeType="1"/>
            </p:cNvCxnSpPr>
            <p:nvPr/>
          </p:nvCxnSpPr>
          <p:spPr bwMode="auto">
            <a:xfrm>
              <a:off x="5426740" y="2301500"/>
              <a:ext cx="2349122" cy="408835"/>
            </a:xfrm>
            <a:prstGeom prst="line">
              <a:avLst/>
            </a:prstGeom>
            <a:noFill/>
            <a:ln w="9525" algn="ctr">
              <a:solidFill>
                <a:srgbClr val="BAB7A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接连接符 16"/>
            <p:cNvCxnSpPr>
              <a:cxnSpLocks noChangeShapeType="1"/>
              <a:endCxn id="15" idx="1"/>
            </p:cNvCxnSpPr>
            <p:nvPr/>
          </p:nvCxnSpPr>
          <p:spPr bwMode="auto">
            <a:xfrm>
              <a:off x="5614007" y="3667947"/>
              <a:ext cx="1684473" cy="725061"/>
            </a:xfrm>
            <a:prstGeom prst="line">
              <a:avLst/>
            </a:prstGeom>
            <a:noFill/>
            <a:ln w="9525" algn="ctr">
              <a:solidFill>
                <a:srgbClr val="BAB7A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 name="矩形 19"/>
            <p:cNvSpPr>
              <a:spLocks noChangeArrowheads="1"/>
            </p:cNvSpPr>
            <p:nvPr/>
          </p:nvSpPr>
          <p:spPr bwMode="auto">
            <a:xfrm>
              <a:off x="7403055" y="1826526"/>
              <a:ext cx="1331656" cy="487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eaLnBrk="0" hangingPunct="0"/>
              <a:r>
                <a:rPr lang="en-US" altLang="zh-CN" sz="2000" b="1" dirty="0">
                  <a:solidFill>
                    <a:srgbClr val="C00000"/>
                  </a:solidFill>
                  <a:latin typeface="微软雅黑" pitchFamily="34" charset="-122"/>
                  <a:ea typeface="微软雅黑" pitchFamily="34" charset="-122"/>
                  <a:cs typeface="Arial" pitchFamily="34" charset="0"/>
                  <a:sym typeface="MS PGothic" pitchFamily="34" charset="-128"/>
                </a:rPr>
                <a:t>410 000 </a:t>
              </a:r>
              <a:r>
                <a:rPr lang="en-US" altLang="zh-CN" sz="1400" b="1" dirty="0">
                  <a:solidFill>
                    <a:srgbClr val="C00000"/>
                  </a:solidFill>
                  <a:latin typeface="微软雅黑" pitchFamily="34" charset="-122"/>
                  <a:ea typeface="微软雅黑" pitchFamily="34" charset="-122"/>
                  <a:cs typeface="Arial" pitchFamily="34" charset="0"/>
                  <a:sym typeface="MS PGothic" pitchFamily="34" charset="-128"/>
                </a:rPr>
                <a:t>m</a:t>
              </a:r>
              <a:r>
                <a:rPr lang="en-US" altLang="zh-CN" sz="1400" b="1" baseline="30000" dirty="0">
                  <a:solidFill>
                    <a:srgbClr val="C00000"/>
                  </a:solidFill>
                  <a:latin typeface="微软雅黑" pitchFamily="34" charset="-122"/>
                  <a:ea typeface="微软雅黑" pitchFamily="34" charset="-122"/>
                  <a:cs typeface="Arial" pitchFamily="34" charset="0"/>
                  <a:sym typeface="MS PGothic" pitchFamily="34" charset="-128"/>
                </a:rPr>
                <a:t>2</a:t>
              </a:r>
              <a:endParaRPr lang="zh-CN" altLang="en-US" sz="1400" baseline="30000" dirty="0">
                <a:solidFill>
                  <a:srgbClr val="C00000"/>
                </a:solidFill>
                <a:ea typeface="微软雅黑" pitchFamily="34" charset="-122"/>
                <a:cs typeface="Arial" pitchFamily="34" charset="0"/>
                <a:sym typeface="MS PGothic" pitchFamily="34" charset="-128"/>
              </a:endParaRPr>
            </a:p>
            <a:p>
              <a:pPr algn="ctr" eaLnBrk="0" hangingPunct="0"/>
              <a:endParaRPr lang="zh-CN" altLang="en-US" sz="1400" baseline="30000" dirty="0">
                <a:solidFill>
                  <a:srgbClr val="C00000"/>
                </a:solidFill>
                <a:ea typeface="微软雅黑" pitchFamily="34" charset="-122"/>
                <a:cs typeface="Arial" pitchFamily="34" charset="0"/>
                <a:sym typeface="MS PGothic" pitchFamily="34" charset="-128"/>
              </a:endParaRPr>
            </a:p>
          </p:txBody>
        </p:sp>
        <p:sp>
          <p:nvSpPr>
            <p:cNvPr id="23" name="矩形 20"/>
            <p:cNvSpPr>
              <a:spLocks noChangeArrowheads="1"/>
            </p:cNvSpPr>
            <p:nvPr/>
          </p:nvSpPr>
          <p:spPr bwMode="auto">
            <a:xfrm>
              <a:off x="7265065" y="3705552"/>
              <a:ext cx="1567176" cy="3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eaLnBrk="0" hangingPunct="0"/>
              <a:r>
                <a:rPr lang="en-US" altLang="zh-CN" sz="2000" b="1" dirty="0">
                  <a:solidFill>
                    <a:srgbClr val="00B050"/>
                  </a:solidFill>
                  <a:latin typeface="微软雅黑" pitchFamily="34" charset="-122"/>
                  <a:ea typeface="微软雅黑" pitchFamily="34" charset="-122"/>
                  <a:cs typeface="Arial" pitchFamily="34" charset="0"/>
                  <a:sym typeface="MS PGothic" pitchFamily="34" charset="-128"/>
                </a:rPr>
                <a:t>1 000 000 </a:t>
              </a:r>
              <a:r>
                <a:rPr lang="en-US" altLang="zh-CN" sz="1600" b="1" dirty="0">
                  <a:solidFill>
                    <a:srgbClr val="00B050"/>
                  </a:solidFill>
                  <a:latin typeface="微软雅黑" pitchFamily="34" charset="-122"/>
                  <a:ea typeface="微软雅黑" pitchFamily="34" charset="-122"/>
                  <a:cs typeface="Arial" pitchFamily="34" charset="0"/>
                  <a:sym typeface="MS PGothic" pitchFamily="34" charset="-128"/>
                </a:rPr>
                <a:t>m</a:t>
              </a:r>
              <a:r>
                <a:rPr lang="en-US" altLang="zh-CN" sz="1600" b="1" baseline="30000" dirty="0">
                  <a:solidFill>
                    <a:srgbClr val="00B050"/>
                  </a:solidFill>
                  <a:latin typeface="微软雅黑" pitchFamily="34" charset="-122"/>
                  <a:ea typeface="微软雅黑" pitchFamily="34" charset="-122"/>
                  <a:cs typeface="Arial" pitchFamily="34" charset="0"/>
                  <a:sym typeface="MS PGothic" pitchFamily="34" charset="-128"/>
                </a:rPr>
                <a:t>2</a:t>
              </a:r>
              <a:endParaRPr lang="zh-CN" altLang="en-US" sz="1600" baseline="30000" dirty="0">
                <a:solidFill>
                  <a:srgbClr val="00B050"/>
                </a:solidFill>
                <a:ea typeface="微软雅黑" pitchFamily="34" charset="-122"/>
                <a:cs typeface="Arial" pitchFamily="34" charset="0"/>
                <a:sym typeface="MS PGothic" pitchFamily="34" charset="-128"/>
              </a:endParaRPr>
            </a:p>
          </p:txBody>
        </p:sp>
        <p:cxnSp>
          <p:nvCxnSpPr>
            <p:cNvPr id="26" name="直接连接符 12"/>
            <p:cNvCxnSpPr>
              <a:cxnSpLocks noChangeShapeType="1"/>
            </p:cNvCxnSpPr>
            <p:nvPr/>
          </p:nvCxnSpPr>
          <p:spPr bwMode="auto">
            <a:xfrm>
              <a:off x="5127207" y="1858737"/>
              <a:ext cx="235441" cy="1491860"/>
            </a:xfrm>
            <a:prstGeom prst="line">
              <a:avLst/>
            </a:prstGeom>
            <a:noFill/>
            <a:ln w="38100" algn="ctr">
              <a:solidFill>
                <a:srgbClr val="C000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8" name="TextBox 72"/>
            <p:cNvSpPr txBox="1">
              <a:spLocks noChangeArrowheads="1"/>
            </p:cNvSpPr>
            <p:nvPr/>
          </p:nvSpPr>
          <p:spPr bwMode="auto">
            <a:xfrm>
              <a:off x="7298480" y="3232641"/>
              <a:ext cx="1511192" cy="3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400">
                  <a:solidFill>
                    <a:schemeClr val="tx1"/>
                  </a:solidFill>
                  <a:latin typeface="Calibri" pitchFamily="34" charset="0"/>
                  <a:ea typeface="宋体" pitchFamily="2" charset="-122"/>
                  <a:sym typeface="MS PGothic" pitchFamily="34" charset="-128"/>
                </a:defRPr>
              </a:lvl1pPr>
              <a:lvl2pPr marL="742950" indent="-285750">
                <a:defRPr sz="2900">
                  <a:solidFill>
                    <a:schemeClr val="tx1"/>
                  </a:solidFill>
                  <a:latin typeface="Calibri" pitchFamily="34" charset="0"/>
                  <a:ea typeface="宋体" pitchFamily="2" charset="-122"/>
                  <a:sym typeface="MS PGothic" pitchFamily="34" charset="-128"/>
                </a:defRPr>
              </a:lvl2pPr>
              <a:lvl3pPr marL="1143000" indent="-228600">
                <a:defRPr sz="2500">
                  <a:solidFill>
                    <a:schemeClr val="tx1"/>
                  </a:solidFill>
                  <a:latin typeface="Calibri" pitchFamily="34" charset="0"/>
                  <a:ea typeface="宋体" pitchFamily="2" charset="-122"/>
                  <a:sym typeface="MS PGothic" pitchFamily="34" charset="-128"/>
                </a:defRPr>
              </a:lvl3pPr>
              <a:lvl4pPr marL="1600200" indent="-228600">
                <a:defRPr sz="2100">
                  <a:solidFill>
                    <a:schemeClr val="tx1"/>
                  </a:solidFill>
                  <a:latin typeface="Calibri" pitchFamily="34" charset="0"/>
                  <a:ea typeface="宋体" pitchFamily="2" charset="-122"/>
                  <a:sym typeface="MS PGothic" pitchFamily="34" charset="-128"/>
                </a:defRPr>
              </a:lvl4pPr>
              <a:lvl5pPr marL="2057400" indent="-228600">
                <a:defRPr sz="2100">
                  <a:solidFill>
                    <a:schemeClr val="tx1"/>
                  </a:solidFill>
                  <a:latin typeface="Calibri" pitchFamily="34" charset="0"/>
                  <a:ea typeface="宋体" pitchFamily="2" charset="-122"/>
                  <a:sym typeface="MS PGothic" pitchFamily="34" charset="-128"/>
                </a:defRPr>
              </a:lvl5pPr>
              <a:lvl6pPr marL="2514600" indent="-228600" eaLnBrk="0" hangingPunct="0">
                <a:defRPr sz="2100">
                  <a:solidFill>
                    <a:schemeClr val="tx1"/>
                  </a:solidFill>
                  <a:latin typeface="Calibri" pitchFamily="34" charset="0"/>
                  <a:ea typeface="宋体" pitchFamily="2" charset="-122"/>
                  <a:sym typeface="MS PGothic" pitchFamily="34" charset="-128"/>
                </a:defRPr>
              </a:lvl6pPr>
              <a:lvl7pPr marL="2971800" indent="-228600" eaLnBrk="0" hangingPunct="0">
                <a:defRPr sz="2100">
                  <a:solidFill>
                    <a:schemeClr val="tx1"/>
                  </a:solidFill>
                  <a:latin typeface="Calibri" pitchFamily="34" charset="0"/>
                  <a:ea typeface="宋体" pitchFamily="2" charset="-122"/>
                  <a:sym typeface="MS PGothic" pitchFamily="34" charset="-128"/>
                </a:defRPr>
              </a:lvl7pPr>
              <a:lvl8pPr marL="3429000" indent="-228600" eaLnBrk="0" hangingPunct="0">
                <a:defRPr sz="2100">
                  <a:solidFill>
                    <a:schemeClr val="tx1"/>
                  </a:solidFill>
                  <a:latin typeface="Calibri" pitchFamily="34" charset="0"/>
                  <a:ea typeface="宋体" pitchFamily="2" charset="-122"/>
                  <a:sym typeface="MS PGothic" pitchFamily="34" charset="-128"/>
                </a:defRPr>
              </a:lvl8pPr>
              <a:lvl9pPr marL="3886200" indent="-228600" eaLnBrk="0" hangingPunct="0">
                <a:defRPr sz="2100">
                  <a:solidFill>
                    <a:schemeClr val="tx1"/>
                  </a:solidFill>
                  <a:latin typeface="Calibri" pitchFamily="34" charset="0"/>
                  <a:ea typeface="宋体" pitchFamily="2" charset="-122"/>
                  <a:sym typeface="MS PGothic" pitchFamily="34" charset="-128"/>
                </a:defRPr>
              </a:lvl9pPr>
            </a:lstStyle>
            <a:p>
              <a:pPr algn="ctr" eaLnBrk="0" hangingPunct="0"/>
              <a:r>
                <a:rPr lang="zh-CN" altLang="en-US" sz="1000" dirty="0">
                  <a:solidFill>
                    <a:srgbClr val="C00000"/>
                  </a:solidFill>
                  <a:latin typeface="微软雅黑" pitchFamily="34" charset="-122"/>
                  <a:ea typeface="微软雅黑" pitchFamily="34" charset="-122"/>
                </a:rPr>
                <a:t>整车基地与研发中心直线距离约</a:t>
              </a:r>
              <a:r>
                <a:rPr lang="en-US" altLang="zh-CN" sz="1000" dirty="0">
                  <a:solidFill>
                    <a:srgbClr val="C00000"/>
                  </a:solidFill>
                  <a:latin typeface="微软雅黑" pitchFamily="34" charset="-122"/>
                  <a:ea typeface="微软雅黑" pitchFamily="34" charset="-122"/>
                </a:rPr>
                <a:t>2km</a:t>
              </a:r>
              <a:endParaRPr lang="zh-CN" altLang="en-US" sz="1000" dirty="0">
                <a:solidFill>
                  <a:srgbClr val="C00000"/>
                </a:solidFill>
                <a:latin typeface="微软雅黑" pitchFamily="34" charset="-122"/>
                <a:ea typeface="微软雅黑" pitchFamily="34" charset="-122"/>
              </a:endParaRPr>
            </a:p>
          </p:txBody>
        </p:sp>
      </p:grpSp>
      <p:sp>
        <p:nvSpPr>
          <p:cNvPr id="48" name="灯片编号占位符 1"/>
          <p:cNvSpPr>
            <a:spLocks noGrp="1"/>
          </p:cNvSpPr>
          <p:nvPr>
            <p:ph type="sldNum" sz="quarter" idx="10"/>
          </p:nvPr>
        </p:nvSpPr>
        <p:spPr>
          <a:xfrm>
            <a:off x="8651507" y="5343123"/>
            <a:ext cx="36004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fld id="{A6C54AB4-FD64-4F86-9BF0-7210CD94CCAC}" type="slidenum">
              <a:rPr lang="zh-CN" altLang="en-US" sz="1000">
                <a:solidFill>
                  <a:srgbClr val="7F7F7F"/>
                </a:solidFill>
                <a:latin typeface="微软雅黑" pitchFamily="34" charset="-122"/>
                <a:ea typeface="微软雅黑" pitchFamily="34" charset="-122"/>
              </a:rPr>
              <a:pPr algn="ctr"/>
              <a:t>6</a:t>
            </a:fld>
            <a:endParaRPr lang="zh-CN" altLang="en-US" sz="1000" dirty="0">
              <a:solidFill>
                <a:srgbClr val="7F7F7F"/>
              </a:solidFill>
              <a:latin typeface="微软雅黑" pitchFamily="34" charset="-122"/>
              <a:ea typeface="微软雅黑" pitchFamily="34" charset="-122"/>
            </a:endParaRPr>
          </a:p>
        </p:txBody>
      </p:sp>
      <p:cxnSp>
        <p:nvCxnSpPr>
          <p:cNvPr id="29" name="直接连接符 15"/>
          <p:cNvCxnSpPr>
            <a:cxnSpLocks noChangeShapeType="1"/>
          </p:cNvCxnSpPr>
          <p:nvPr/>
        </p:nvCxnSpPr>
        <p:spPr bwMode="auto">
          <a:xfrm>
            <a:off x="4086176" y="1713508"/>
            <a:ext cx="2718075" cy="455969"/>
          </a:xfrm>
          <a:prstGeom prst="line">
            <a:avLst/>
          </a:prstGeom>
          <a:noFill/>
          <a:ln w="9525" algn="ctr">
            <a:solidFill>
              <a:srgbClr val="BAB7A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9925737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5"/>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697135" y="625254"/>
            <a:ext cx="1858643" cy="615531"/>
          </a:xfrm>
          <a:prstGeom prst="rect">
            <a:avLst/>
          </a:prstGeom>
          <a:noFill/>
        </p:spPr>
        <p:txBody>
          <a:bodyPr wrap="square" lIns="91419" tIns="45709" rIns="91419" bIns="45709" rtlCol="0">
            <a:spAutoFit/>
          </a:bodyPr>
          <a:lstStyle/>
          <a:p>
            <a:r>
              <a:rPr lang="zh-CN" altLang="en-US" sz="2000" b="1" dirty="0">
                <a:solidFill>
                  <a:srgbClr val="C00000"/>
                </a:solidFill>
                <a:latin typeface="微软雅黑" pitchFamily="34" charset="-122"/>
                <a:ea typeface="微软雅黑" pitchFamily="34" charset="-122"/>
              </a:rPr>
              <a:t>生产基地</a:t>
            </a:r>
            <a:endParaRPr lang="en-US" altLang="zh-CN" sz="2000" b="1" dirty="0">
              <a:solidFill>
                <a:srgbClr val="C00000"/>
              </a:solidFill>
              <a:latin typeface="微软雅黑" pitchFamily="34" charset="-122"/>
              <a:ea typeface="微软雅黑" pitchFamily="34" charset="-122"/>
            </a:endParaRPr>
          </a:p>
          <a:p>
            <a:r>
              <a:rPr lang="en-US" altLang="zh-CN" sz="1400" b="1" dirty="0">
                <a:solidFill>
                  <a:srgbClr val="C00000"/>
                </a:solidFill>
                <a:latin typeface="微软雅黑" pitchFamily="34" charset="-122"/>
                <a:ea typeface="微软雅黑" pitchFamily="34" charset="-122"/>
                <a:cs typeface="Arial" pitchFamily="34" charset="0"/>
                <a:sym typeface="MS PGothic" pitchFamily="34" charset="-128"/>
              </a:rPr>
              <a:t>Production </a:t>
            </a:r>
            <a:r>
              <a:rPr lang="en-US" altLang="zh-CN" sz="1400" b="1" dirty="0">
                <a:solidFill>
                  <a:srgbClr val="C00000"/>
                </a:solidFill>
                <a:latin typeface="微软雅黑" pitchFamily="34" charset="-122"/>
                <a:ea typeface="微软雅黑" pitchFamily="34" charset="-122"/>
                <a:cs typeface="Arial" pitchFamily="34" charset="0"/>
                <a:sym typeface="黑体" pitchFamily="49" charset="-122"/>
              </a:rPr>
              <a:t>Plant</a:t>
            </a:r>
          </a:p>
        </p:txBody>
      </p:sp>
      <p:sp>
        <p:nvSpPr>
          <p:cNvPr id="6"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grpSp>
        <p:nvGrpSpPr>
          <p:cNvPr id="11" name="组合 10"/>
          <p:cNvGrpSpPr/>
          <p:nvPr/>
        </p:nvGrpSpPr>
        <p:grpSpPr>
          <a:xfrm>
            <a:off x="697134" y="1561356"/>
            <a:ext cx="7909475" cy="3866106"/>
            <a:chOff x="697131" y="1561356"/>
            <a:chExt cx="7909475" cy="3866106"/>
          </a:xfrm>
        </p:grpSpPr>
        <p:pic>
          <p:nvPicPr>
            <p:cNvPr id="7" name="Picture 8"/>
            <p:cNvPicPr>
              <a:picLocks noChangeAspect="1" noChangeArrowheads="1"/>
            </p:cNvPicPr>
            <p:nvPr/>
          </p:nvPicPr>
          <p:blipFill>
            <a:blip r:embed="rId3">
              <a:extLst>
                <a:ext uri="{28A0092B-C50C-407E-A947-70E740481C1C}">
                  <a14:useLocalDpi xmlns:a14="http://schemas.microsoft.com/office/drawing/2010/main" val="0"/>
                </a:ext>
              </a:extLst>
            </a:blip>
            <a:srcRect t="3075" b="2451"/>
            <a:stretch>
              <a:fillRect/>
            </a:stretch>
          </p:blipFill>
          <p:spPr bwMode="auto">
            <a:xfrm>
              <a:off x="1259632" y="1561356"/>
              <a:ext cx="7346974" cy="30931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矩形标注 7"/>
            <p:cNvSpPr/>
            <p:nvPr/>
          </p:nvSpPr>
          <p:spPr bwMode="auto">
            <a:xfrm>
              <a:off x="1547664" y="4807823"/>
              <a:ext cx="2448272" cy="542993"/>
            </a:xfrm>
            <a:prstGeom prst="wedgeRectCallout">
              <a:avLst>
                <a:gd name="adj1" fmla="val 31414"/>
                <a:gd name="adj2" fmla="val -411654"/>
              </a:avLst>
            </a:prstGeom>
            <a:solidFill>
              <a:schemeClr val="bg1">
                <a:lumMod val="95000"/>
              </a:schemeClr>
            </a:solidFill>
            <a:ln>
              <a:noFill/>
            </a:ln>
            <a:extLst/>
          </p:spPr>
          <p:txBody>
            <a:bodyPr wrap="square" lIns="95782" tIns="47891" rIns="95782" bIns="47891">
              <a:spAutoFit/>
            </a:bodyPr>
            <a:lstStyle/>
            <a:p>
              <a:pPr>
                <a:spcBef>
                  <a:spcPct val="50000"/>
                </a:spcBef>
                <a:defRPr/>
              </a:pPr>
              <a:r>
                <a:rPr lang="zh-CN" altLang="en-US" sz="1100" b="1" dirty="0">
                  <a:solidFill>
                    <a:schemeClr val="tx1">
                      <a:lumMod val="75000"/>
                      <a:lumOff val="25000"/>
                    </a:schemeClr>
                  </a:solidFill>
                  <a:latin typeface="微软雅黑" pitchFamily="34" charset="-122"/>
                  <a:ea typeface="微软雅黑" pitchFamily="34" charset="-122"/>
                  <a:cs typeface="Arial" charset="0"/>
                </a:rPr>
                <a:t>    发动机工厂 </a:t>
              </a:r>
              <a:r>
                <a:rPr lang="en-US" altLang="zh-CN" sz="1100" b="1" dirty="0">
                  <a:solidFill>
                    <a:schemeClr val="tx1">
                      <a:lumMod val="75000"/>
                      <a:lumOff val="25000"/>
                    </a:schemeClr>
                  </a:solidFill>
                  <a:latin typeface="微软雅黑" pitchFamily="34" charset="-122"/>
                  <a:ea typeface="微软雅黑" pitchFamily="34" charset="-122"/>
                  <a:cs typeface="Arial" charset="0"/>
                </a:rPr>
                <a:t>Engine Plant</a:t>
              </a:r>
            </a:p>
            <a:p>
              <a:pPr marL="171411" indent="-171411">
                <a:spcBef>
                  <a:spcPct val="50000"/>
                </a:spcBef>
                <a:buFont typeface="Arial" pitchFamily="34" charset="0"/>
                <a:buChar char="•"/>
                <a:defRPr/>
              </a:pPr>
              <a:r>
                <a:rPr lang="zh-CN" altLang="en-US" sz="600" dirty="0">
                  <a:solidFill>
                    <a:schemeClr val="tx1">
                      <a:lumMod val="75000"/>
                      <a:lumOff val="25000"/>
                    </a:schemeClr>
                  </a:solidFill>
                  <a:latin typeface="微软雅黑" pitchFamily="34" charset="-122"/>
                  <a:ea typeface="微软雅黑" pitchFamily="34" charset="-122"/>
                  <a:cs typeface="Arial" charset="0"/>
                </a:rPr>
                <a:t>产能：</a:t>
              </a:r>
              <a:r>
                <a:rPr lang="en-US" altLang="zh-CN" sz="600" dirty="0">
                  <a:solidFill>
                    <a:schemeClr val="tx1">
                      <a:lumMod val="75000"/>
                      <a:lumOff val="25000"/>
                    </a:schemeClr>
                  </a:solidFill>
                  <a:latin typeface="微软雅黑" pitchFamily="34" charset="-122"/>
                  <a:ea typeface="微软雅黑" pitchFamily="34" charset="-122"/>
                  <a:cs typeface="Arial" charset="0"/>
                </a:rPr>
                <a:t>20</a:t>
              </a:r>
              <a:r>
                <a:rPr lang="zh-CN" altLang="en-US" sz="600" dirty="0">
                  <a:solidFill>
                    <a:schemeClr val="tx1">
                      <a:lumMod val="75000"/>
                      <a:lumOff val="25000"/>
                    </a:schemeClr>
                  </a:solidFill>
                  <a:latin typeface="微软雅黑" pitchFamily="34" charset="-122"/>
                  <a:ea typeface="微软雅黑" pitchFamily="34" charset="-122"/>
                  <a:cs typeface="Arial" charset="0"/>
                </a:rPr>
                <a:t>万台</a:t>
              </a:r>
              <a:r>
                <a:rPr lang="en-US" altLang="zh-CN" sz="600" dirty="0">
                  <a:solidFill>
                    <a:schemeClr val="tx1">
                      <a:lumMod val="75000"/>
                      <a:lumOff val="25000"/>
                    </a:schemeClr>
                  </a:solidFill>
                  <a:latin typeface="微软雅黑" pitchFamily="34" charset="-122"/>
                  <a:ea typeface="微软雅黑" pitchFamily="34" charset="-122"/>
                  <a:cs typeface="Arial" charset="0"/>
                </a:rPr>
                <a:t>/</a:t>
              </a:r>
              <a:r>
                <a:rPr lang="zh-CN" altLang="en-US" sz="600" dirty="0">
                  <a:solidFill>
                    <a:schemeClr val="tx1">
                      <a:lumMod val="75000"/>
                      <a:lumOff val="25000"/>
                    </a:schemeClr>
                  </a:solidFill>
                  <a:latin typeface="微软雅黑" pitchFamily="34" charset="-122"/>
                  <a:ea typeface="微软雅黑" pitchFamily="34" charset="-122"/>
                  <a:cs typeface="Arial" charset="0"/>
                </a:rPr>
                <a:t>年 </a:t>
              </a:r>
              <a:r>
                <a:rPr lang="en-US" altLang="zh-CN" sz="600" dirty="0">
                  <a:solidFill>
                    <a:schemeClr val="tx1">
                      <a:lumMod val="75000"/>
                      <a:lumOff val="25000"/>
                    </a:schemeClr>
                  </a:solidFill>
                  <a:latin typeface="微软雅黑" pitchFamily="34" charset="-122"/>
                  <a:ea typeface="微软雅黑" pitchFamily="34" charset="-122"/>
                  <a:cs typeface="Arial" charset="0"/>
                </a:rPr>
                <a:t>Productivity: 200 000/year</a:t>
              </a:r>
              <a:endParaRPr lang="zh-CN" altLang="en-US" sz="600" dirty="0">
                <a:solidFill>
                  <a:schemeClr val="tx1">
                    <a:lumMod val="75000"/>
                    <a:lumOff val="25000"/>
                  </a:schemeClr>
                </a:solidFill>
                <a:latin typeface="微软雅黑" pitchFamily="34" charset="-122"/>
                <a:ea typeface="微软雅黑" pitchFamily="34" charset="-122"/>
                <a:cs typeface="Arial" charset="0"/>
              </a:endParaRPr>
            </a:p>
            <a:p>
              <a:pPr marL="171411" indent="-171411">
                <a:spcBef>
                  <a:spcPct val="50000"/>
                </a:spcBef>
                <a:buFont typeface="Arial" pitchFamily="34" charset="0"/>
                <a:buChar char="•"/>
                <a:defRPr/>
              </a:pPr>
              <a:r>
                <a:rPr lang="zh-CN" altLang="en-US" sz="600" dirty="0">
                  <a:solidFill>
                    <a:schemeClr val="tx1">
                      <a:lumMod val="75000"/>
                      <a:lumOff val="25000"/>
                    </a:schemeClr>
                  </a:solidFill>
                  <a:latin typeface="微软雅黑" pitchFamily="34" charset="-122"/>
                  <a:ea typeface="微软雅黑" pitchFamily="34" charset="-122"/>
                  <a:cs typeface="Arial" charset="0"/>
                </a:rPr>
                <a:t>生产节拍：</a:t>
              </a:r>
              <a:r>
                <a:rPr lang="en-US" altLang="zh-CN" sz="600" dirty="0">
                  <a:solidFill>
                    <a:schemeClr val="tx1">
                      <a:lumMod val="75000"/>
                      <a:lumOff val="25000"/>
                    </a:schemeClr>
                  </a:solidFill>
                  <a:latin typeface="微软雅黑" pitchFamily="34" charset="-122"/>
                  <a:ea typeface="微软雅黑" pitchFamily="34" charset="-122"/>
                  <a:cs typeface="Arial" charset="0"/>
                </a:rPr>
                <a:t>35</a:t>
              </a:r>
              <a:r>
                <a:rPr lang="zh-CN" altLang="en-US" sz="600" dirty="0">
                  <a:solidFill>
                    <a:schemeClr val="tx1">
                      <a:lumMod val="75000"/>
                      <a:lumOff val="25000"/>
                    </a:schemeClr>
                  </a:solidFill>
                  <a:latin typeface="微软雅黑" pitchFamily="34" charset="-122"/>
                  <a:ea typeface="微软雅黑" pitchFamily="34" charset="-122"/>
                  <a:cs typeface="Arial" charset="0"/>
                </a:rPr>
                <a:t>台</a:t>
              </a:r>
              <a:r>
                <a:rPr lang="en-US" altLang="zh-CN" sz="600" dirty="0">
                  <a:solidFill>
                    <a:schemeClr val="tx1">
                      <a:lumMod val="75000"/>
                      <a:lumOff val="25000"/>
                    </a:schemeClr>
                  </a:solidFill>
                  <a:latin typeface="微软雅黑" pitchFamily="34" charset="-122"/>
                  <a:ea typeface="微软雅黑" pitchFamily="34" charset="-122"/>
                  <a:cs typeface="Arial" charset="0"/>
                </a:rPr>
                <a:t>/</a:t>
              </a:r>
              <a:r>
                <a:rPr lang="zh-CN" altLang="en-US" sz="600" dirty="0">
                  <a:solidFill>
                    <a:schemeClr val="tx1">
                      <a:lumMod val="75000"/>
                      <a:lumOff val="25000"/>
                    </a:schemeClr>
                  </a:solidFill>
                  <a:latin typeface="微软雅黑" pitchFamily="34" charset="-122"/>
                  <a:ea typeface="微软雅黑" pitchFamily="34" charset="-122"/>
                  <a:cs typeface="Arial" charset="0"/>
                </a:rPr>
                <a:t>工时 </a:t>
              </a:r>
              <a:r>
                <a:rPr lang="en-US" altLang="zh-CN" sz="600" dirty="0">
                  <a:solidFill>
                    <a:schemeClr val="tx1">
                      <a:lumMod val="75000"/>
                      <a:lumOff val="25000"/>
                    </a:schemeClr>
                  </a:solidFill>
                  <a:latin typeface="微软雅黑" pitchFamily="34" charset="-122"/>
                  <a:ea typeface="微软雅黑" pitchFamily="34" charset="-122"/>
                  <a:cs typeface="Arial" charset="0"/>
                </a:rPr>
                <a:t>Production tact: 35 units/labor-hour</a:t>
              </a:r>
              <a:endParaRPr lang="en-US" altLang="zh-CN" sz="1100" b="1" dirty="0">
                <a:solidFill>
                  <a:schemeClr val="tx1">
                    <a:lumMod val="75000"/>
                    <a:lumOff val="25000"/>
                  </a:schemeClr>
                </a:solidFill>
                <a:latin typeface="微软雅黑" pitchFamily="34" charset="-122"/>
                <a:ea typeface="微软雅黑" pitchFamily="34" charset="-122"/>
                <a:cs typeface="Arial" charset="0"/>
              </a:endParaRPr>
            </a:p>
          </p:txBody>
        </p:sp>
        <p:sp>
          <p:nvSpPr>
            <p:cNvPr id="9" name="矩形标注 8"/>
            <p:cNvSpPr/>
            <p:nvPr/>
          </p:nvSpPr>
          <p:spPr bwMode="auto">
            <a:xfrm>
              <a:off x="5364088" y="4838302"/>
              <a:ext cx="2880320" cy="589160"/>
            </a:xfrm>
            <a:prstGeom prst="wedgeRectCallout">
              <a:avLst>
                <a:gd name="adj1" fmla="val -21145"/>
                <a:gd name="adj2" fmla="val -262202"/>
              </a:avLst>
            </a:prstGeom>
            <a:solidFill>
              <a:schemeClr val="bg1">
                <a:lumMod val="95000"/>
              </a:schemeClr>
            </a:solidFill>
            <a:ln>
              <a:noFill/>
            </a:ln>
            <a:extLst/>
          </p:spPr>
          <p:txBody>
            <a:bodyPr wrap="square" lIns="95782" tIns="47891" rIns="95782" bIns="47891">
              <a:spAutoFit/>
            </a:bodyPr>
            <a:lstStyle/>
            <a:p>
              <a:pPr>
                <a:spcBef>
                  <a:spcPct val="50000"/>
                </a:spcBef>
                <a:defRPr/>
              </a:pPr>
              <a:r>
                <a:rPr lang="zh-CN" altLang="en-US" sz="1100" b="1" dirty="0">
                  <a:solidFill>
                    <a:schemeClr val="tx1">
                      <a:lumMod val="75000"/>
                      <a:lumOff val="25000"/>
                    </a:schemeClr>
                  </a:solidFill>
                  <a:latin typeface="微软雅黑" pitchFamily="34" charset="-122"/>
                  <a:ea typeface="微软雅黑" pitchFamily="34" charset="-122"/>
                  <a:cs typeface="Arial" charset="0"/>
                </a:rPr>
                <a:t>   深圳二整车工厂 </a:t>
              </a:r>
              <a:r>
                <a:rPr lang="en-US" altLang="zh-CN" sz="1100" b="1" dirty="0">
                  <a:solidFill>
                    <a:schemeClr val="tx1">
                      <a:lumMod val="75000"/>
                      <a:lumOff val="25000"/>
                    </a:schemeClr>
                  </a:solidFill>
                  <a:latin typeface="微软雅黑" pitchFamily="34" charset="-122"/>
                  <a:ea typeface="微软雅黑" pitchFamily="34" charset="-122"/>
                  <a:cs typeface="Arial" charset="0"/>
                </a:rPr>
                <a:t>SZ2 vehicle Plant </a:t>
              </a:r>
            </a:p>
            <a:p>
              <a:pPr marL="171411" indent="-171411">
                <a:spcBef>
                  <a:spcPct val="50000"/>
                </a:spcBef>
                <a:buFont typeface="Arial" pitchFamily="34" charset="0"/>
                <a:buChar char="•"/>
                <a:defRPr/>
              </a:pPr>
              <a:r>
                <a:rPr lang="zh-CN" altLang="en-US" sz="700" dirty="0">
                  <a:solidFill>
                    <a:schemeClr val="tx1">
                      <a:lumMod val="75000"/>
                      <a:lumOff val="25000"/>
                    </a:schemeClr>
                  </a:solidFill>
                  <a:latin typeface="微软雅黑" pitchFamily="34" charset="-122"/>
                  <a:ea typeface="微软雅黑" pitchFamily="34" charset="-122"/>
                  <a:cs typeface="Arial" charset="0"/>
                </a:rPr>
                <a:t>产能：</a:t>
              </a:r>
              <a:r>
                <a:rPr lang="en-US" altLang="zh-CN" sz="700" dirty="0">
                  <a:solidFill>
                    <a:schemeClr val="tx1">
                      <a:lumMod val="75000"/>
                      <a:lumOff val="25000"/>
                    </a:schemeClr>
                  </a:solidFill>
                  <a:latin typeface="微软雅黑" pitchFamily="34" charset="-122"/>
                  <a:ea typeface="微软雅黑" pitchFamily="34" charset="-122"/>
                  <a:cs typeface="Arial" charset="0"/>
                </a:rPr>
                <a:t>20</a:t>
              </a:r>
              <a:r>
                <a:rPr lang="zh-CN" altLang="en-US" sz="700" dirty="0">
                  <a:solidFill>
                    <a:schemeClr val="tx1">
                      <a:lumMod val="75000"/>
                      <a:lumOff val="25000"/>
                    </a:schemeClr>
                  </a:solidFill>
                  <a:latin typeface="微软雅黑" pitchFamily="34" charset="-122"/>
                  <a:ea typeface="微软雅黑" pitchFamily="34" charset="-122"/>
                  <a:cs typeface="Arial" charset="0"/>
                </a:rPr>
                <a:t>万辆</a:t>
              </a:r>
              <a:r>
                <a:rPr lang="en-US" altLang="zh-CN" sz="700" dirty="0">
                  <a:solidFill>
                    <a:schemeClr val="tx1">
                      <a:lumMod val="75000"/>
                      <a:lumOff val="25000"/>
                    </a:schemeClr>
                  </a:solidFill>
                  <a:latin typeface="微软雅黑" pitchFamily="34" charset="-122"/>
                  <a:ea typeface="微软雅黑" pitchFamily="34" charset="-122"/>
                  <a:cs typeface="Arial" charset="0"/>
                </a:rPr>
                <a:t>/</a:t>
              </a:r>
              <a:r>
                <a:rPr lang="zh-CN" altLang="en-US" sz="700" dirty="0">
                  <a:solidFill>
                    <a:schemeClr val="tx1">
                      <a:lumMod val="75000"/>
                      <a:lumOff val="25000"/>
                    </a:schemeClr>
                  </a:solidFill>
                  <a:latin typeface="微软雅黑" pitchFamily="34" charset="-122"/>
                  <a:ea typeface="微软雅黑" pitchFamily="34" charset="-122"/>
                  <a:cs typeface="Arial" charset="0"/>
                </a:rPr>
                <a:t>年  </a:t>
              </a:r>
              <a:r>
                <a:rPr lang="en-US" altLang="zh-CN" sz="700" dirty="0">
                  <a:solidFill>
                    <a:schemeClr val="tx1">
                      <a:lumMod val="75000"/>
                      <a:lumOff val="25000"/>
                    </a:schemeClr>
                  </a:solidFill>
                  <a:latin typeface="微软雅黑" pitchFamily="34" charset="-122"/>
                  <a:ea typeface="微软雅黑" pitchFamily="34" charset="-122"/>
                  <a:cs typeface="Arial" charset="0"/>
                </a:rPr>
                <a:t>Productivity: 200 000/year</a:t>
              </a:r>
              <a:endParaRPr lang="zh-CN" altLang="en-US" sz="700" dirty="0">
                <a:solidFill>
                  <a:schemeClr val="tx1">
                    <a:lumMod val="75000"/>
                    <a:lumOff val="25000"/>
                  </a:schemeClr>
                </a:solidFill>
                <a:latin typeface="微软雅黑" pitchFamily="34" charset="-122"/>
                <a:ea typeface="微软雅黑" pitchFamily="34" charset="-122"/>
                <a:cs typeface="Arial" charset="0"/>
              </a:endParaRPr>
            </a:p>
            <a:p>
              <a:pPr marL="171411" indent="-171411">
                <a:spcBef>
                  <a:spcPct val="50000"/>
                </a:spcBef>
                <a:buFont typeface="Arial" pitchFamily="34" charset="0"/>
                <a:buChar char="•"/>
                <a:defRPr/>
              </a:pPr>
              <a:r>
                <a:rPr lang="zh-CN" altLang="en-US" sz="700" dirty="0">
                  <a:solidFill>
                    <a:schemeClr val="tx1">
                      <a:lumMod val="75000"/>
                      <a:lumOff val="25000"/>
                    </a:schemeClr>
                  </a:solidFill>
                  <a:latin typeface="微软雅黑" pitchFamily="34" charset="-122"/>
                  <a:ea typeface="微软雅黑" pitchFamily="34" charset="-122"/>
                  <a:cs typeface="Arial" charset="0"/>
                </a:rPr>
                <a:t>生产节拍：</a:t>
              </a:r>
              <a:r>
                <a:rPr lang="en-US" altLang="zh-CN" sz="700" dirty="0">
                  <a:solidFill>
                    <a:schemeClr val="tx1">
                      <a:lumMod val="75000"/>
                      <a:lumOff val="25000"/>
                    </a:schemeClr>
                  </a:solidFill>
                  <a:latin typeface="微软雅黑" pitchFamily="34" charset="-122"/>
                  <a:ea typeface="微软雅黑" pitchFamily="34" charset="-122"/>
                  <a:cs typeface="Arial" charset="0"/>
                </a:rPr>
                <a:t>55</a:t>
              </a:r>
              <a:r>
                <a:rPr lang="zh-CN" altLang="en-US" sz="700" dirty="0">
                  <a:solidFill>
                    <a:schemeClr val="tx1">
                      <a:lumMod val="75000"/>
                      <a:lumOff val="25000"/>
                    </a:schemeClr>
                  </a:solidFill>
                  <a:latin typeface="微软雅黑" pitchFamily="34" charset="-122"/>
                  <a:ea typeface="微软雅黑" pitchFamily="34" charset="-122"/>
                  <a:cs typeface="Arial" charset="0"/>
                </a:rPr>
                <a:t>辆</a:t>
              </a:r>
              <a:r>
                <a:rPr lang="en-US" altLang="zh-CN" sz="700" dirty="0">
                  <a:solidFill>
                    <a:schemeClr val="tx1">
                      <a:lumMod val="75000"/>
                      <a:lumOff val="25000"/>
                    </a:schemeClr>
                  </a:solidFill>
                  <a:latin typeface="微软雅黑" pitchFamily="34" charset="-122"/>
                  <a:ea typeface="微软雅黑" pitchFamily="34" charset="-122"/>
                  <a:cs typeface="Arial" charset="0"/>
                </a:rPr>
                <a:t>/</a:t>
              </a:r>
              <a:r>
                <a:rPr lang="zh-CN" altLang="en-US" sz="700" dirty="0">
                  <a:solidFill>
                    <a:schemeClr val="tx1">
                      <a:lumMod val="75000"/>
                      <a:lumOff val="25000"/>
                    </a:schemeClr>
                  </a:solidFill>
                  <a:latin typeface="微软雅黑" pitchFamily="34" charset="-122"/>
                  <a:ea typeface="微软雅黑" pitchFamily="34" charset="-122"/>
                  <a:cs typeface="Arial" charset="0"/>
                </a:rPr>
                <a:t>工时 </a:t>
              </a:r>
              <a:r>
                <a:rPr lang="en-US" altLang="zh-CN" sz="700" dirty="0">
                  <a:solidFill>
                    <a:schemeClr val="tx1">
                      <a:lumMod val="75000"/>
                      <a:lumOff val="25000"/>
                    </a:schemeClr>
                  </a:solidFill>
                  <a:latin typeface="微软雅黑" pitchFamily="34" charset="-122"/>
                  <a:ea typeface="微软雅黑" pitchFamily="34" charset="-122"/>
                  <a:cs typeface="Arial" charset="0"/>
                </a:rPr>
                <a:t>Production tact: 55 units/labor-hour</a:t>
              </a:r>
            </a:p>
          </p:txBody>
        </p:sp>
        <p:sp>
          <p:nvSpPr>
            <p:cNvPr id="4" name="矩形 3"/>
            <p:cNvSpPr/>
            <p:nvPr/>
          </p:nvSpPr>
          <p:spPr>
            <a:xfrm>
              <a:off x="697131" y="1705372"/>
              <a:ext cx="1858643" cy="2448272"/>
            </a:xfrm>
            <a:prstGeom prst="rect">
              <a:avLst/>
            </a:prstGeom>
            <a:solidFill>
              <a:schemeClr val="bg1">
                <a:lumMod val="85000"/>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a:off x="779500" y="1868703"/>
              <a:ext cx="1693903" cy="2197525"/>
            </a:xfrm>
            <a:prstGeom prst="rect">
              <a:avLst/>
            </a:prstGeom>
          </p:spPr>
          <p:txBody>
            <a:bodyPr wrap="square">
              <a:spAutoFit/>
            </a:bodyPr>
            <a:lstStyle/>
            <a:p>
              <a:pPr defTabSz="0" eaLnBrk="0" hangingPunct="0">
                <a:lnSpc>
                  <a:spcPct val="150000"/>
                </a:lnSpc>
                <a:spcBef>
                  <a:spcPct val="30000"/>
                </a:spcBef>
              </a:pPr>
              <a:r>
                <a:rPr lang="zh-CN" altLang="en-US" sz="1400" dirty="0">
                  <a:solidFill>
                    <a:srgbClr val="C00000"/>
                  </a:solidFill>
                  <a:latin typeface="微软雅黑" pitchFamily="34" charset="-122"/>
                  <a:ea typeface="微软雅黑" pitchFamily="34" charset="-122"/>
                  <a:sym typeface="MS PGothic" pitchFamily="34" charset="-128"/>
                </a:rPr>
                <a:t>整</a:t>
              </a:r>
              <a:r>
                <a:rPr lang="zh-CN" altLang="en-US" sz="1000" dirty="0">
                  <a:solidFill>
                    <a:srgbClr val="C00000"/>
                  </a:solidFill>
                  <a:latin typeface="微软雅黑" pitchFamily="34" charset="-122"/>
                  <a:ea typeface="微软雅黑" pitchFamily="34" charset="-122"/>
                  <a:sym typeface="MS PGothic" pitchFamily="34" charset="-128"/>
                </a:rPr>
                <a:t>车</a:t>
              </a:r>
              <a:r>
                <a:rPr lang="zh-CN" altLang="en-US" sz="1000" dirty="0">
                  <a:latin typeface="微软雅黑" pitchFamily="34" charset="-122"/>
                  <a:ea typeface="微软雅黑" pitchFamily="34" charset="-122"/>
                  <a:sym typeface="MS PGothic" pitchFamily="34" charset="-128"/>
                </a:rPr>
                <a:t>生产基地</a:t>
              </a:r>
              <a:r>
                <a:rPr lang="en-US" altLang="zh-CN" sz="1100" b="1" dirty="0">
                  <a:solidFill>
                    <a:srgbClr val="C00000"/>
                  </a:solidFill>
                  <a:latin typeface="微软雅黑" pitchFamily="34" charset="-122"/>
                  <a:ea typeface="微软雅黑" pitchFamily="34" charset="-122"/>
                  <a:sym typeface="MS PGothic" pitchFamily="34" charset="-128"/>
                </a:rPr>
                <a:t>99.6</a:t>
              </a:r>
              <a:r>
                <a:rPr lang="zh-CN" altLang="en-US" sz="1000" dirty="0">
                  <a:latin typeface="微软雅黑" pitchFamily="34" charset="-122"/>
                  <a:ea typeface="微软雅黑" pitchFamily="34" charset="-122"/>
                  <a:sym typeface="MS PGothic" pitchFamily="34" charset="-128"/>
                </a:rPr>
                <a:t>公顷，建筑面积</a:t>
              </a:r>
              <a:r>
                <a:rPr lang="en-US" altLang="zh-CN" sz="1100" b="1" dirty="0">
                  <a:solidFill>
                    <a:srgbClr val="C00000"/>
                  </a:solidFill>
                  <a:latin typeface="微软雅黑" pitchFamily="34" charset="-122"/>
                  <a:ea typeface="微软雅黑" pitchFamily="34" charset="-122"/>
                  <a:sym typeface="MS PGothic" pitchFamily="34" charset="-128"/>
                </a:rPr>
                <a:t>55.9</a:t>
              </a:r>
              <a:r>
                <a:rPr lang="zh-CN" altLang="en-US" sz="1100" b="1" dirty="0">
                  <a:solidFill>
                    <a:srgbClr val="C00000"/>
                  </a:solidFill>
                  <a:latin typeface="微软雅黑" pitchFamily="34" charset="-122"/>
                  <a:ea typeface="微软雅黑" pitchFamily="34" charset="-122"/>
                  <a:sym typeface="MS PGothic" pitchFamily="34" charset="-128"/>
                </a:rPr>
                <a:t>万</a:t>
              </a:r>
              <a:r>
                <a:rPr lang="zh-CN" altLang="en-US" sz="1000" dirty="0">
                  <a:latin typeface="微软雅黑" pitchFamily="34" charset="-122"/>
                  <a:ea typeface="微软雅黑" pitchFamily="34" charset="-122"/>
                  <a:sym typeface="MS PGothic" pitchFamily="34" charset="-128"/>
                </a:rPr>
                <a:t>平方米，容积率</a:t>
              </a:r>
              <a:r>
                <a:rPr lang="en-US" altLang="zh-CN" sz="1100" b="1" dirty="0">
                  <a:solidFill>
                    <a:srgbClr val="C00000"/>
                  </a:solidFill>
                  <a:latin typeface="微软雅黑" pitchFamily="34" charset="-122"/>
                  <a:ea typeface="微软雅黑" pitchFamily="34" charset="-122"/>
                  <a:sym typeface="MS PGothic" pitchFamily="34" charset="-128"/>
                </a:rPr>
                <a:t>0.94</a:t>
              </a:r>
              <a:r>
                <a:rPr lang="zh-CN" altLang="en-US" sz="1000" dirty="0">
                  <a:latin typeface="微软雅黑" pitchFamily="34" charset="-122"/>
                  <a:ea typeface="微软雅黑" pitchFamily="34" charset="-122"/>
                  <a:sym typeface="MS PGothic" pitchFamily="34" charset="-128"/>
                </a:rPr>
                <a:t>，绿化率</a:t>
              </a:r>
              <a:r>
                <a:rPr lang="en-US" altLang="zh-CN" sz="1100" b="1" dirty="0">
                  <a:solidFill>
                    <a:srgbClr val="C00000"/>
                  </a:solidFill>
                  <a:latin typeface="微软雅黑" pitchFamily="34" charset="-122"/>
                  <a:ea typeface="微软雅黑" pitchFamily="34" charset="-122"/>
                  <a:sym typeface="MS PGothic" pitchFamily="34" charset="-128"/>
                </a:rPr>
                <a:t>19%</a:t>
              </a:r>
            </a:p>
            <a:p>
              <a:pPr defTabSz="0" eaLnBrk="0" hangingPunct="0">
                <a:lnSpc>
                  <a:spcPct val="150000"/>
                </a:lnSpc>
                <a:spcBef>
                  <a:spcPct val="30000"/>
                </a:spcBef>
              </a:pPr>
              <a:r>
                <a:rPr lang="en-US" altLang="zh-CN" sz="900" dirty="0">
                  <a:latin typeface="微软雅黑" pitchFamily="34" charset="-122"/>
                  <a:ea typeface="微软雅黑" pitchFamily="34" charset="-122"/>
                  <a:sym typeface="MS PGothic" pitchFamily="34" charset="-128"/>
                </a:rPr>
                <a:t>With an area of </a:t>
              </a:r>
              <a:r>
                <a:rPr lang="en-US" altLang="zh-CN" sz="1100" b="1" dirty="0">
                  <a:solidFill>
                    <a:srgbClr val="C00000"/>
                  </a:solidFill>
                  <a:latin typeface="微软雅黑" pitchFamily="34" charset="-122"/>
                  <a:ea typeface="微软雅黑" pitchFamily="34" charset="-122"/>
                  <a:sym typeface="MS PGothic" pitchFamily="34" charset="-128"/>
                </a:rPr>
                <a:t>99.6 </a:t>
              </a:r>
              <a:r>
                <a:rPr lang="en-US" altLang="zh-CN" sz="900" dirty="0">
                  <a:latin typeface="微软雅黑" pitchFamily="34" charset="-122"/>
                  <a:ea typeface="微软雅黑" pitchFamily="34" charset="-122"/>
                  <a:sym typeface="MS PGothic" pitchFamily="34" charset="-128"/>
                </a:rPr>
                <a:t>hectare, a construction area of </a:t>
              </a:r>
              <a:r>
                <a:rPr lang="en-US" altLang="zh-CN" sz="1100" b="1" dirty="0">
                  <a:solidFill>
                    <a:srgbClr val="C00000"/>
                  </a:solidFill>
                  <a:latin typeface="微软雅黑" pitchFamily="34" charset="-122"/>
                  <a:ea typeface="微软雅黑" pitchFamily="34" charset="-122"/>
                  <a:sym typeface="MS PGothic" pitchFamily="34" charset="-128"/>
                </a:rPr>
                <a:t>559 000 </a:t>
              </a:r>
              <a:r>
                <a:rPr lang="zh-CN" altLang="en-US" sz="900" dirty="0">
                  <a:latin typeface="微软雅黑" pitchFamily="34" charset="-122"/>
                  <a:ea typeface="微软雅黑" pitchFamily="34" charset="-122"/>
                  <a:sym typeface="MS PGothic" pitchFamily="34" charset="-128"/>
                </a:rPr>
                <a:t>㎡</a:t>
              </a:r>
              <a:r>
                <a:rPr lang="en-US" altLang="zh-CN" sz="900" dirty="0">
                  <a:latin typeface="微软雅黑" pitchFamily="34" charset="-122"/>
                  <a:ea typeface="微软雅黑" pitchFamily="34" charset="-122"/>
                  <a:sym typeface="MS PGothic" pitchFamily="34" charset="-128"/>
                </a:rPr>
                <a:t>, a plot rate of </a:t>
              </a:r>
              <a:r>
                <a:rPr lang="en-US" altLang="zh-CN" sz="1100" b="1" dirty="0">
                  <a:solidFill>
                    <a:srgbClr val="C00000"/>
                  </a:solidFill>
                  <a:latin typeface="微软雅黑" pitchFamily="34" charset="-122"/>
                  <a:ea typeface="微软雅黑" pitchFamily="34" charset="-122"/>
                  <a:sym typeface="MS PGothic" pitchFamily="34" charset="-128"/>
                </a:rPr>
                <a:t>0.94, </a:t>
              </a:r>
              <a:r>
                <a:rPr lang="en-US" altLang="zh-CN" sz="900" dirty="0">
                  <a:latin typeface="微软雅黑" pitchFamily="34" charset="-122"/>
                  <a:ea typeface="微软雅黑" pitchFamily="34" charset="-122"/>
                  <a:sym typeface="MS PGothic" pitchFamily="34" charset="-128"/>
                </a:rPr>
                <a:t>a greening rate of </a:t>
              </a:r>
              <a:r>
                <a:rPr lang="en-US" altLang="zh-CN" sz="1100" b="1" dirty="0">
                  <a:solidFill>
                    <a:srgbClr val="C00000"/>
                  </a:solidFill>
                  <a:latin typeface="微软雅黑" pitchFamily="34" charset="-122"/>
                  <a:ea typeface="微软雅黑" pitchFamily="34" charset="-122"/>
                  <a:sym typeface="MS PGothic" pitchFamily="34" charset="-128"/>
                </a:rPr>
                <a:t>19%</a:t>
              </a:r>
            </a:p>
          </p:txBody>
        </p:sp>
      </p:grpSp>
      <p:sp>
        <p:nvSpPr>
          <p:cNvPr id="10" name="灯片编号占位符 1"/>
          <p:cNvSpPr>
            <a:spLocks noGrp="1"/>
          </p:cNvSpPr>
          <p:nvPr>
            <p:ph type="sldNum" sz="quarter" idx="10"/>
          </p:nvPr>
        </p:nvSpPr>
        <p:spPr>
          <a:xfrm>
            <a:off x="8651507" y="5343123"/>
            <a:ext cx="36004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fld id="{A6C54AB4-FD64-4F86-9BF0-7210CD94CCAC}" type="slidenum">
              <a:rPr lang="zh-CN" altLang="en-US" sz="1000">
                <a:solidFill>
                  <a:srgbClr val="7F7F7F"/>
                </a:solidFill>
                <a:latin typeface="微软雅黑" pitchFamily="34" charset="-122"/>
                <a:ea typeface="微软雅黑" pitchFamily="34" charset="-122"/>
              </a:rPr>
              <a:pPr algn="ctr"/>
              <a:t>7</a:t>
            </a:fld>
            <a:endParaRPr lang="zh-CN" altLang="en-US" sz="1000" dirty="0">
              <a:solidFill>
                <a:srgbClr val="7F7F7F"/>
              </a:solidFill>
              <a:latin typeface="微软雅黑" pitchFamily="34" charset="-122"/>
              <a:ea typeface="微软雅黑" pitchFamily="34" charset="-122"/>
            </a:endParaRPr>
          </a:p>
        </p:txBody>
      </p:sp>
    </p:spTree>
    <p:extLst>
      <p:ext uri="{BB962C8B-B14F-4D97-AF65-F5344CB8AC3E}">
        <p14:creationId xmlns:p14="http://schemas.microsoft.com/office/powerpoint/2010/main" val="6396277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5"/>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697135" y="625254"/>
            <a:ext cx="1858643" cy="615531"/>
          </a:xfrm>
          <a:prstGeom prst="rect">
            <a:avLst/>
          </a:prstGeom>
          <a:noFill/>
        </p:spPr>
        <p:txBody>
          <a:bodyPr wrap="square" lIns="91419" tIns="45709" rIns="91419" bIns="45709" rtlCol="0">
            <a:spAutoFit/>
          </a:bodyPr>
          <a:lstStyle/>
          <a:p>
            <a:r>
              <a:rPr lang="zh-CN" altLang="en-US" sz="2000" b="1" dirty="0">
                <a:solidFill>
                  <a:srgbClr val="C00000"/>
                </a:solidFill>
                <a:latin typeface="微软雅黑" pitchFamily="34" charset="-122"/>
                <a:ea typeface="微软雅黑" pitchFamily="34" charset="-122"/>
              </a:rPr>
              <a:t>研发中心</a:t>
            </a:r>
            <a:endParaRPr lang="en-US" altLang="zh-CN" sz="2000" b="1" dirty="0">
              <a:solidFill>
                <a:srgbClr val="C00000"/>
              </a:solidFill>
              <a:latin typeface="微软雅黑" pitchFamily="34" charset="-122"/>
              <a:ea typeface="微软雅黑" pitchFamily="34" charset="-122"/>
            </a:endParaRPr>
          </a:p>
          <a:p>
            <a:r>
              <a:rPr lang="en-US" altLang="zh-CN" sz="1400" b="1" dirty="0">
                <a:solidFill>
                  <a:srgbClr val="C00000"/>
                </a:solidFill>
                <a:latin typeface="微软雅黑" pitchFamily="34" charset="-122"/>
                <a:ea typeface="微软雅黑" pitchFamily="34" charset="-122"/>
                <a:cs typeface="Arial" pitchFamily="34" charset="0"/>
                <a:sym typeface="MS PGothic" pitchFamily="34" charset="-128"/>
              </a:rPr>
              <a:t>R&amp;D Center</a:t>
            </a:r>
            <a:endParaRPr lang="en-US" altLang="zh-CN" sz="1400" b="1" dirty="0">
              <a:solidFill>
                <a:srgbClr val="C00000"/>
              </a:solidFill>
              <a:latin typeface="微软雅黑" pitchFamily="34" charset="-122"/>
              <a:ea typeface="微软雅黑" pitchFamily="34" charset="-122"/>
              <a:cs typeface="Arial" pitchFamily="34" charset="0"/>
              <a:sym typeface="黑体" pitchFamily="49" charset="-122"/>
            </a:endParaRPr>
          </a:p>
        </p:txBody>
      </p:sp>
      <p:sp>
        <p:nvSpPr>
          <p:cNvPr id="6"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sp>
        <p:nvSpPr>
          <p:cNvPr id="10" name="灯片编号占位符 1"/>
          <p:cNvSpPr>
            <a:spLocks noGrp="1"/>
          </p:cNvSpPr>
          <p:nvPr>
            <p:ph type="sldNum" sz="quarter" idx="10"/>
          </p:nvPr>
        </p:nvSpPr>
        <p:spPr>
          <a:xfrm>
            <a:off x="8651507" y="5343123"/>
            <a:ext cx="36004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fld id="{A6C54AB4-FD64-4F86-9BF0-7210CD94CCAC}" type="slidenum">
              <a:rPr lang="zh-CN" altLang="en-US" sz="1000">
                <a:solidFill>
                  <a:srgbClr val="7F7F7F"/>
                </a:solidFill>
                <a:latin typeface="微软雅黑" pitchFamily="34" charset="-122"/>
                <a:ea typeface="微软雅黑" pitchFamily="34" charset="-122"/>
              </a:rPr>
              <a:pPr algn="ctr"/>
              <a:t>8</a:t>
            </a:fld>
            <a:endParaRPr lang="zh-CN" altLang="en-US" sz="1000" dirty="0">
              <a:solidFill>
                <a:srgbClr val="7F7F7F"/>
              </a:solidFill>
              <a:latin typeface="微软雅黑" pitchFamily="34" charset="-122"/>
              <a:ea typeface="微软雅黑" pitchFamily="34" charset="-122"/>
            </a:endParaRPr>
          </a:p>
        </p:txBody>
      </p:sp>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78832" y="2622908"/>
            <a:ext cx="5616624" cy="2466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矩形 16"/>
          <p:cNvSpPr/>
          <p:nvPr/>
        </p:nvSpPr>
        <p:spPr>
          <a:xfrm>
            <a:off x="805947" y="1843496"/>
            <a:ext cx="2150982" cy="3144350"/>
          </a:xfrm>
          <a:prstGeom prst="rect">
            <a:avLst/>
          </a:prstGeom>
          <a:gradFill>
            <a:gsLst>
              <a:gs pos="0">
                <a:schemeClr val="accent6">
                  <a:lumMod val="40000"/>
                  <a:lumOff val="60000"/>
                  <a:alpha val="72000"/>
                </a:schemeClr>
              </a:gs>
              <a:gs pos="50000">
                <a:schemeClr val="accent6">
                  <a:lumMod val="60000"/>
                  <a:lumOff val="40000"/>
                  <a:alpha val="60000"/>
                </a:schemeClr>
              </a:gs>
              <a:gs pos="100000">
                <a:schemeClr val="accent6">
                  <a:lumMod val="40000"/>
                  <a:lumOff val="60000"/>
                  <a:alpha val="49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9" tIns="45709" rIns="91419" bIns="45709" rtlCol="0" anchor="ctr"/>
          <a:lstStyle/>
          <a:p>
            <a:pPr algn="ctr"/>
            <a:endParaRPr lang="zh-CN" altLang="en-US"/>
          </a:p>
        </p:txBody>
      </p:sp>
      <p:sp>
        <p:nvSpPr>
          <p:cNvPr id="19" name="矩形 1"/>
          <p:cNvSpPr>
            <a:spLocks noChangeArrowheads="1"/>
          </p:cNvSpPr>
          <p:nvPr/>
        </p:nvSpPr>
        <p:spPr bwMode="auto">
          <a:xfrm>
            <a:off x="768640" y="2125525"/>
            <a:ext cx="2188289" cy="286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9" tIns="45709" rIns="91419" bIns="45709">
            <a:spAutoFit/>
          </a:bodyPr>
          <a:lstStyle/>
          <a:p>
            <a:pPr marL="171411" indent="-171411" eaLnBrk="0" hangingPunct="0">
              <a:lnSpc>
                <a:spcPct val="150000"/>
              </a:lnSpc>
              <a:buFont typeface="Arial" pitchFamily="34" charset="0"/>
              <a:buChar char="•"/>
            </a:pPr>
            <a:r>
              <a:rPr lang="zh-CN" altLang="en-US" sz="1000" dirty="0">
                <a:solidFill>
                  <a:srgbClr val="000000"/>
                </a:solidFill>
                <a:latin typeface="微软雅黑" pitchFamily="34" charset="-122"/>
                <a:ea typeface="微软雅黑" pitchFamily="34" charset="-122"/>
                <a:sym typeface="MS PGothic" pitchFamily="34" charset="-128"/>
              </a:rPr>
              <a:t>占地面积</a:t>
            </a:r>
            <a:r>
              <a:rPr lang="en-US" altLang="zh-CN" sz="1000" dirty="0">
                <a:solidFill>
                  <a:srgbClr val="C00000"/>
                </a:solidFill>
                <a:latin typeface="微软雅黑" pitchFamily="34" charset="-122"/>
                <a:ea typeface="微软雅黑" pitchFamily="34" charset="-122"/>
                <a:sym typeface="MS PGothic" pitchFamily="34" charset="-128"/>
              </a:rPr>
              <a:t>30</a:t>
            </a:r>
            <a:r>
              <a:rPr lang="zh-CN" altLang="en-US" sz="1000" dirty="0">
                <a:solidFill>
                  <a:srgbClr val="C00000"/>
                </a:solidFill>
                <a:latin typeface="微软雅黑" pitchFamily="34" charset="-122"/>
                <a:ea typeface="微软雅黑" pitchFamily="34" charset="-122"/>
                <a:sym typeface="MS PGothic" pitchFamily="34" charset="-128"/>
              </a:rPr>
              <a:t>万</a:t>
            </a:r>
            <a:r>
              <a:rPr lang="zh-CN" altLang="en-US" sz="1000" dirty="0">
                <a:solidFill>
                  <a:srgbClr val="000000"/>
                </a:solidFill>
                <a:latin typeface="微软雅黑" pitchFamily="34" charset="-122"/>
                <a:ea typeface="微软雅黑" pitchFamily="34" charset="-122"/>
                <a:sym typeface="MS PGothic" pitchFamily="34" charset="-128"/>
              </a:rPr>
              <a:t>平米，</a:t>
            </a:r>
            <a:r>
              <a:rPr lang="en-US" altLang="zh-CN" sz="1000" dirty="0">
                <a:solidFill>
                  <a:srgbClr val="C00000"/>
                </a:solidFill>
                <a:latin typeface="微软雅黑" pitchFamily="34" charset="-122"/>
                <a:ea typeface="微软雅黑" pitchFamily="34" charset="-122"/>
                <a:sym typeface="MS PGothic" pitchFamily="34" charset="-128"/>
              </a:rPr>
              <a:t>2014</a:t>
            </a:r>
            <a:r>
              <a:rPr lang="zh-CN" altLang="en-US" sz="1000" dirty="0">
                <a:solidFill>
                  <a:srgbClr val="C00000"/>
                </a:solidFill>
                <a:latin typeface="微软雅黑" pitchFamily="34" charset="-122"/>
                <a:ea typeface="微软雅黑" pitchFamily="34" charset="-122"/>
                <a:sym typeface="MS PGothic" pitchFamily="34" charset="-128"/>
              </a:rPr>
              <a:t>年</a:t>
            </a:r>
            <a:r>
              <a:rPr lang="en-US" altLang="zh-CN" sz="1000" dirty="0">
                <a:solidFill>
                  <a:srgbClr val="C00000"/>
                </a:solidFill>
                <a:latin typeface="微软雅黑" pitchFamily="34" charset="-122"/>
                <a:ea typeface="微软雅黑" pitchFamily="34" charset="-122"/>
                <a:sym typeface="MS PGothic" pitchFamily="34" charset="-128"/>
              </a:rPr>
              <a:t>12</a:t>
            </a:r>
            <a:r>
              <a:rPr lang="zh-CN" altLang="en-US" sz="1000" dirty="0">
                <a:solidFill>
                  <a:srgbClr val="C00000"/>
                </a:solidFill>
                <a:latin typeface="微软雅黑" pitchFamily="34" charset="-122"/>
                <a:ea typeface="微软雅黑" pitchFamily="34" charset="-122"/>
                <a:sym typeface="MS PGothic" pitchFamily="34" charset="-128"/>
              </a:rPr>
              <a:t>月</a:t>
            </a:r>
            <a:r>
              <a:rPr lang="zh-CN" altLang="en-US" sz="1000" dirty="0">
                <a:solidFill>
                  <a:srgbClr val="000000"/>
                </a:solidFill>
                <a:latin typeface="微软雅黑" pitchFamily="34" charset="-122"/>
                <a:ea typeface="微软雅黑" pitchFamily="34" charset="-122"/>
                <a:sym typeface="MS PGothic" pitchFamily="34" charset="-128"/>
              </a:rPr>
              <a:t>全面落成并投入使用，距离整车工厂距离约</a:t>
            </a:r>
            <a:r>
              <a:rPr lang="en-US" altLang="zh-CN" sz="1000" dirty="0">
                <a:solidFill>
                  <a:srgbClr val="C00000"/>
                </a:solidFill>
                <a:latin typeface="微软雅黑" pitchFamily="34" charset="-122"/>
                <a:ea typeface="微软雅黑" pitchFamily="34" charset="-122"/>
                <a:sym typeface="MS PGothic" pitchFamily="34" charset="-128"/>
              </a:rPr>
              <a:t>2</a:t>
            </a:r>
            <a:r>
              <a:rPr lang="zh-CN" altLang="en-US" sz="1000" dirty="0">
                <a:solidFill>
                  <a:srgbClr val="000000"/>
                </a:solidFill>
                <a:latin typeface="微软雅黑" pitchFamily="34" charset="-122"/>
                <a:ea typeface="微软雅黑" pitchFamily="34" charset="-122"/>
                <a:sym typeface="MS PGothic" pitchFamily="34" charset="-128"/>
              </a:rPr>
              <a:t>公里 </a:t>
            </a:r>
            <a:r>
              <a:rPr lang="en-US" altLang="zh-CN" sz="1000" dirty="0">
                <a:solidFill>
                  <a:srgbClr val="000000"/>
                </a:solidFill>
                <a:latin typeface="微软雅黑" pitchFamily="34" charset="-122"/>
                <a:ea typeface="微软雅黑" pitchFamily="34" charset="-122"/>
                <a:sym typeface="MS PGothic" pitchFamily="34" charset="-128"/>
              </a:rPr>
              <a:t>Covering an area of  300,000M</a:t>
            </a:r>
            <a:r>
              <a:rPr lang="en-US" altLang="zh-CN" sz="1000" baseline="30000" dirty="0">
                <a:solidFill>
                  <a:srgbClr val="000000"/>
                </a:solidFill>
                <a:latin typeface="微软雅黑" pitchFamily="34" charset="-122"/>
                <a:ea typeface="微软雅黑" pitchFamily="34" charset="-122"/>
                <a:sym typeface="MS PGothic" pitchFamily="34" charset="-128"/>
              </a:rPr>
              <a:t>2</a:t>
            </a:r>
            <a:r>
              <a:rPr lang="zh-CN" altLang="en-US" sz="1000" baseline="30000" dirty="0">
                <a:solidFill>
                  <a:srgbClr val="000000"/>
                </a:solidFill>
                <a:latin typeface="微软雅黑" pitchFamily="34" charset="-122"/>
                <a:ea typeface="微软雅黑" pitchFamily="34" charset="-122"/>
                <a:sym typeface="MS PGothic" pitchFamily="34" charset="-128"/>
              </a:rPr>
              <a:t> </a:t>
            </a:r>
            <a:r>
              <a:rPr lang="zh-CN" altLang="en-US" sz="1000" dirty="0">
                <a:solidFill>
                  <a:srgbClr val="000000"/>
                </a:solidFill>
                <a:latin typeface="微软雅黑" pitchFamily="34" charset="-122"/>
                <a:ea typeface="微软雅黑" pitchFamily="34" charset="-122"/>
                <a:sym typeface="MS PGothic" pitchFamily="34" charset="-128"/>
              </a:rPr>
              <a:t>，</a:t>
            </a:r>
            <a:r>
              <a:rPr lang="en-US" altLang="zh-CN" sz="1000" dirty="0">
                <a:solidFill>
                  <a:srgbClr val="000000"/>
                </a:solidFill>
                <a:latin typeface="微软雅黑" pitchFamily="34" charset="-122"/>
                <a:ea typeface="微软雅黑" pitchFamily="34" charset="-122"/>
                <a:sym typeface="MS PGothic" pitchFamily="34" charset="-128"/>
              </a:rPr>
              <a:t>with two kilometer distance from vehicle plant</a:t>
            </a:r>
            <a:endParaRPr lang="en-US" altLang="zh-CN" sz="1000" baseline="30000" dirty="0">
              <a:solidFill>
                <a:srgbClr val="000000"/>
              </a:solidFill>
              <a:latin typeface="微软雅黑" pitchFamily="34" charset="-122"/>
              <a:ea typeface="微软雅黑" pitchFamily="34" charset="-122"/>
              <a:sym typeface="MS PGothic" pitchFamily="34" charset="-128"/>
            </a:endParaRPr>
          </a:p>
          <a:p>
            <a:pPr marL="171411" indent="-171411" eaLnBrk="0" hangingPunct="0">
              <a:lnSpc>
                <a:spcPct val="150000"/>
              </a:lnSpc>
              <a:buFont typeface="Arial" pitchFamily="34" charset="0"/>
              <a:buChar char="•"/>
            </a:pPr>
            <a:r>
              <a:rPr lang="zh-CN" altLang="en-US" sz="1000" dirty="0">
                <a:solidFill>
                  <a:srgbClr val="000000"/>
                </a:solidFill>
                <a:latin typeface="微软雅黑" pitchFamily="34" charset="-122"/>
                <a:ea typeface="微软雅黑" pitchFamily="34" charset="-122"/>
                <a:sym typeface="MS PGothic" pitchFamily="34" charset="-128"/>
              </a:rPr>
              <a:t>投资</a:t>
            </a:r>
            <a:r>
              <a:rPr lang="en-US" altLang="zh-CN" sz="1000" dirty="0">
                <a:solidFill>
                  <a:srgbClr val="C00000"/>
                </a:solidFill>
                <a:latin typeface="微软雅黑" pitchFamily="34" charset="-122"/>
                <a:ea typeface="微软雅黑" pitchFamily="34" charset="-122"/>
                <a:sym typeface="MS PGothic" pitchFamily="34" charset="-128"/>
              </a:rPr>
              <a:t>6.57</a:t>
            </a:r>
            <a:r>
              <a:rPr lang="zh-CN" altLang="en-US" sz="1000" dirty="0">
                <a:solidFill>
                  <a:srgbClr val="C00000"/>
                </a:solidFill>
                <a:latin typeface="微软雅黑" pitchFamily="34" charset="-122"/>
                <a:ea typeface="微软雅黑" pitchFamily="34" charset="-122"/>
                <a:sym typeface="MS PGothic" pitchFamily="34" charset="-128"/>
              </a:rPr>
              <a:t>亿</a:t>
            </a:r>
            <a:r>
              <a:rPr lang="zh-CN" altLang="en-US" sz="1000" dirty="0">
                <a:solidFill>
                  <a:srgbClr val="000000"/>
                </a:solidFill>
                <a:latin typeface="微软雅黑" pitchFamily="34" charset="-122"/>
                <a:ea typeface="微软雅黑" pitchFamily="34" charset="-122"/>
                <a:sym typeface="MS PGothic" pitchFamily="34" charset="-128"/>
              </a:rPr>
              <a:t>人民币 </a:t>
            </a:r>
            <a:r>
              <a:rPr lang="en-US" altLang="zh-CN" sz="1000" dirty="0">
                <a:solidFill>
                  <a:srgbClr val="000000"/>
                </a:solidFill>
                <a:latin typeface="微软雅黑" pitchFamily="34" charset="-122"/>
                <a:ea typeface="微软雅黑" pitchFamily="34" charset="-122"/>
                <a:sym typeface="MS PGothic" pitchFamily="34" charset="-128"/>
              </a:rPr>
              <a:t>Investment is 657 million RMB </a:t>
            </a:r>
          </a:p>
          <a:p>
            <a:pPr marL="171411" indent="-171411" eaLnBrk="0" hangingPunct="0">
              <a:lnSpc>
                <a:spcPct val="150000"/>
              </a:lnSpc>
              <a:buFont typeface="Arial" pitchFamily="34" charset="0"/>
              <a:buChar char="•"/>
            </a:pPr>
            <a:r>
              <a:rPr lang="zh-CN" altLang="zh-CN" sz="1000" dirty="0">
                <a:solidFill>
                  <a:srgbClr val="000000"/>
                </a:solidFill>
                <a:latin typeface="微软雅黑" pitchFamily="34" charset="-122"/>
                <a:ea typeface="微软雅黑" pitchFamily="34" charset="-122"/>
                <a:sym typeface="MS PGothic" pitchFamily="34" charset="-128"/>
              </a:rPr>
              <a:t>能够进行完整的整车试验及子系统试验</a:t>
            </a:r>
            <a:r>
              <a:rPr lang="en-US" altLang="zh-CN" sz="1000" dirty="0">
                <a:solidFill>
                  <a:srgbClr val="000000"/>
                </a:solidFill>
                <a:latin typeface="微软雅黑" pitchFamily="34" charset="-122"/>
                <a:ea typeface="微软雅黑" pitchFamily="34" charset="-122"/>
                <a:sym typeface="MS PGothic" pitchFamily="34" charset="-128"/>
              </a:rPr>
              <a:t>  Complete vehicle tests and systems tests can be conducted</a:t>
            </a:r>
          </a:p>
        </p:txBody>
      </p:sp>
      <p:grpSp>
        <p:nvGrpSpPr>
          <p:cNvPr id="2" name="组合 1"/>
          <p:cNvGrpSpPr/>
          <p:nvPr/>
        </p:nvGrpSpPr>
        <p:grpSpPr>
          <a:xfrm>
            <a:off x="3083855" y="1435454"/>
            <a:ext cx="5368321" cy="1125871"/>
            <a:chOff x="3083852" y="1435451"/>
            <a:chExt cx="5368321" cy="1125871"/>
          </a:xfrm>
        </p:grpSpPr>
        <p:pic>
          <p:nvPicPr>
            <p:cNvPr id="13" name="图片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3852" y="1441343"/>
              <a:ext cx="1224135" cy="816090"/>
            </a:xfrm>
            <a:prstGeom prst="rect">
              <a:avLst/>
            </a:prstGeom>
          </p:spPr>
        </p:pic>
        <p:pic>
          <p:nvPicPr>
            <p:cNvPr id="14" name="图片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8431" y="1441342"/>
              <a:ext cx="1255099" cy="810199"/>
            </a:xfrm>
            <a:prstGeom prst="rect">
              <a:avLst/>
            </a:prstGeom>
          </p:spPr>
        </p:pic>
        <p:pic>
          <p:nvPicPr>
            <p:cNvPr id="15" name="图片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71846" y="1447235"/>
              <a:ext cx="1215298" cy="810199"/>
            </a:xfrm>
            <a:prstGeom prst="rect">
              <a:avLst/>
            </a:prstGeom>
          </p:spPr>
        </p:pic>
        <p:pic>
          <p:nvPicPr>
            <p:cNvPr id="16" name="图片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28038" y="1435451"/>
              <a:ext cx="1224135" cy="816090"/>
            </a:xfrm>
            <a:prstGeom prst="rect">
              <a:avLst/>
            </a:prstGeom>
          </p:spPr>
        </p:pic>
        <p:sp>
          <p:nvSpPr>
            <p:cNvPr id="18" name="矩形 17"/>
            <p:cNvSpPr/>
            <p:nvPr/>
          </p:nvSpPr>
          <p:spPr>
            <a:xfrm>
              <a:off x="4704233" y="2246302"/>
              <a:ext cx="750525" cy="307777"/>
            </a:xfrm>
            <a:prstGeom prst="rect">
              <a:avLst/>
            </a:prstGeom>
          </p:spPr>
          <p:txBody>
            <a:bodyPr wrap="none" anchor="ctr">
              <a:spAutoFit/>
            </a:bodyPr>
            <a:lstStyle/>
            <a:p>
              <a:pPr algn="ctr"/>
              <a:r>
                <a:rPr lang="zh-CN" altLang="en-US" sz="700" i="1" dirty="0">
                  <a:latin typeface="微软雅黑" pitchFamily="34" charset="-122"/>
                  <a:ea typeface="微软雅黑" pitchFamily="34" charset="-122"/>
                </a:rPr>
                <a:t>四立柱实验室</a:t>
              </a:r>
              <a:r>
                <a:rPr lang="en-US" altLang="zh-CN" sz="700" i="1" dirty="0">
                  <a:latin typeface="微软雅黑" pitchFamily="34" charset="-122"/>
                  <a:ea typeface="微软雅黑" pitchFamily="34" charset="-122"/>
                </a:rPr>
                <a:t> </a:t>
              </a:r>
            </a:p>
            <a:p>
              <a:pPr algn="ctr"/>
              <a:r>
                <a:rPr lang="en-US" altLang="zh-CN" sz="700" i="1" dirty="0">
                  <a:latin typeface="微软雅黑" pitchFamily="34" charset="-122"/>
                  <a:ea typeface="微软雅黑" pitchFamily="34" charset="-122"/>
                </a:rPr>
                <a:t>4-Post Lab</a:t>
              </a:r>
              <a:endParaRPr lang="zh-CN" altLang="en-US" sz="700" i="1" dirty="0">
                <a:latin typeface="微软雅黑" pitchFamily="34" charset="-122"/>
                <a:ea typeface="微软雅黑" pitchFamily="34" charset="-122"/>
              </a:endParaRPr>
            </a:p>
          </p:txBody>
        </p:sp>
        <p:sp>
          <p:nvSpPr>
            <p:cNvPr id="20" name="矩形 19"/>
            <p:cNvSpPr/>
            <p:nvPr/>
          </p:nvSpPr>
          <p:spPr>
            <a:xfrm>
              <a:off x="6083922" y="2253545"/>
              <a:ext cx="744114" cy="307777"/>
            </a:xfrm>
            <a:prstGeom prst="rect">
              <a:avLst/>
            </a:prstGeom>
          </p:spPr>
          <p:txBody>
            <a:bodyPr wrap="none" anchor="ctr">
              <a:spAutoFit/>
            </a:bodyPr>
            <a:lstStyle/>
            <a:p>
              <a:pPr algn="ctr"/>
              <a:r>
                <a:rPr lang="zh-CN" altLang="en-US" sz="700" i="1" dirty="0">
                  <a:latin typeface="微软雅黑" pitchFamily="34" charset="-122"/>
                  <a:ea typeface="微软雅黑" pitchFamily="34" charset="-122"/>
                </a:rPr>
                <a:t>排放实验室</a:t>
              </a:r>
              <a:endParaRPr lang="en-US" altLang="zh-CN" sz="700" i="1" dirty="0">
                <a:latin typeface="微软雅黑" pitchFamily="34" charset="-122"/>
                <a:ea typeface="微软雅黑" pitchFamily="34" charset="-122"/>
              </a:endParaRPr>
            </a:p>
            <a:p>
              <a:pPr algn="ctr"/>
              <a:r>
                <a:rPr lang="en-US" altLang="zh-CN" sz="700" i="1" dirty="0">
                  <a:latin typeface="微软雅黑" pitchFamily="34" charset="-122"/>
                  <a:ea typeface="微软雅黑" pitchFamily="34" charset="-122"/>
                </a:rPr>
                <a:t>Emission Lab</a:t>
              </a:r>
              <a:endParaRPr lang="zh-CN" altLang="en-US" sz="700" i="1" dirty="0">
                <a:latin typeface="微软雅黑" pitchFamily="34" charset="-122"/>
                <a:ea typeface="微软雅黑" pitchFamily="34" charset="-122"/>
              </a:endParaRPr>
            </a:p>
          </p:txBody>
        </p:sp>
        <p:sp>
          <p:nvSpPr>
            <p:cNvPr id="21" name="矩形 20"/>
            <p:cNvSpPr/>
            <p:nvPr/>
          </p:nvSpPr>
          <p:spPr>
            <a:xfrm>
              <a:off x="7241585" y="2246302"/>
              <a:ext cx="1210588" cy="307777"/>
            </a:xfrm>
            <a:prstGeom prst="rect">
              <a:avLst/>
            </a:prstGeom>
          </p:spPr>
          <p:txBody>
            <a:bodyPr wrap="none" anchor="ctr">
              <a:spAutoFit/>
            </a:bodyPr>
            <a:lstStyle/>
            <a:p>
              <a:pPr algn="ctr"/>
              <a:r>
                <a:rPr lang="zh-CN" altLang="en-US" sz="700" i="1" dirty="0">
                  <a:latin typeface="微软雅黑" pitchFamily="34" charset="-122"/>
                  <a:ea typeface="微软雅黑" pitchFamily="34" charset="-122"/>
                </a:rPr>
                <a:t>阳光模拟试验仓</a:t>
              </a:r>
              <a:endParaRPr lang="en-US" altLang="zh-CN" sz="700" i="1" dirty="0">
                <a:latin typeface="微软雅黑" pitchFamily="34" charset="-122"/>
                <a:ea typeface="微软雅黑" pitchFamily="34" charset="-122"/>
              </a:endParaRPr>
            </a:p>
            <a:p>
              <a:pPr algn="ctr"/>
              <a:r>
                <a:rPr lang="en-US" altLang="zh-CN" sz="700" i="1" dirty="0">
                  <a:latin typeface="微软雅黑" pitchFamily="34" charset="-122"/>
                  <a:ea typeface="微软雅黑" pitchFamily="34" charset="-122"/>
                </a:rPr>
                <a:t>Sunning Simulation Lab</a:t>
              </a:r>
              <a:endParaRPr lang="zh-CN" altLang="en-US" sz="700" i="1" dirty="0">
                <a:latin typeface="微软雅黑" pitchFamily="34" charset="-122"/>
                <a:ea typeface="微软雅黑" pitchFamily="34" charset="-122"/>
              </a:endParaRPr>
            </a:p>
          </p:txBody>
        </p:sp>
        <p:sp>
          <p:nvSpPr>
            <p:cNvPr id="22" name="矩形 21"/>
            <p:cNvSpPr/>
            <p:nvPr/>
          </p:nvSpPr>
          <p:spPr>
            <a:xfrm>
              <a:off x="3387180" y="2246302"/>
              <a:ext cx="617477" cy="307777"/>
            </a:xfrm>
            <a:prstGeom prst="rect">
              <a:avLst/>
            </a:prstGeom>
          </p:spPr>
          <p:txBody>
            <a:bodyPr wrap="none" anchor="ctr">
              <a:spAutoFit/>
            </a:bodyPr>
            <a:lstStyle/>
            <a:p>
              <a:pPr algn="ctr"/>
              <a:r>
                <a:rPr lang="zh-CN" altLang="en-US" sz="700" i="1" dirty="0">
                  <a:latin typeface="微软雅黑" pitchFamily="34" charset="-122"/>
                  <a:ea typeface="微软雅黑" pitchFamily="34" charset="-122"/>
                </a:rPr>
                <a:t>测试跑道</a:t>
              </a:r>
              <a:endParaRPr lang="en-US" altLang="zh-CN" sz="700" i="1" dirty="0">
                <a:latin typeface="微软雅黑" pitchFamily="34" charset="-122"/>
                <a:ea typeface="微软雅黑" pitchFamily="34" charset="-122"/>
              </a:endParaRPr>
            </a:p>
            <a:p>
              <a:pPr algn="ctr"/>
              <a:r>
                <a:rPr lang="en-US" altLang="zh-CN" sz="700" i="1" dirty="0">
                  <a:latin typeface="微软雅黑" pitchFamily="34" charset="-122"/>
                  <a:ea typeface="微软雅黑" pitchFamily="34" charset="-122"/>
                </a:rPr>
                <a:t>Test Track</a:t>
              </a:r>
              <a:endParaRPr lang="zh-CN" altLang="en-US" sz="700" i="1" dirty="0">
                <a:latin typeface="微软雅黑" pitchFamily="34" charset="-122"/>
                <a:ea typeface="微软雅黑" pitchFamily="34" charset="-122"/>
              </a:endParaRPr>
            </a:p>
          </p:txBody>
        </p:sp>
      </p:grpSp>
    </p:spTree>
    <p:extLst>
      <p:ext uri="{BB962C8B-B14F-4D97-AF65-F5344CB8AC3E}">
        <p14:creationId xmlns:p14="http://schemas.microsoft.com/office/powerpoint/2010/main" val="13747910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5"/>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8309"/>
          <a:stretch/>
        </p:blipFill>
        <p:spPr bwMode="auto">
          <a:xfrm>
            <a:off x="7349351" y="436501"/>
            <a:ext cx="1302158" cy="65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697132" y="625254"/>
            <a:ext cx="2074668" cy="615531"/>
          </a:xfrm>
          <a:prstGeom prst="rect">
            <a:avLst/>
          </a:prstGeom>
          <a:noFill/>
        </p:spPr>
        <p:txBody>
          <a:bodyPr wrap="square" lIns="91419" tIns="45709" rIns="91419" bIns="45709" rtlCol="0">
            <a:spAutoFit/>
          </a:bodyPr>
          <a:lstStyle/>
          <a:p>
            <a:r>
              <a:rPr lang="zh-CN" altLang="en-US" sz="2000" b="1" dirty="0">
                <a:solidFill>
                  <a:srgbClr val="C00000"/>
                </a:solidFill>
                <a:latin typeface="微软雅黑" pitchFamily="34" charset="-122"/>
                <a:ea typeface="微软雅黑" pitchFamily="34" charset="-122"/>
              </a:rPr>
              <a:t>生产工艺</a:t>
            </a:r>
            <a:endParaRPr lang="en-US" altLang="zh-CN" sz="2000" b="1" dirty="0">
              <a:solidFill>
                <a:srgbClr val="C00000"/>
              </a:solidFill>
              <a:latin typeface="微软雅黑" pitchFamily="34" charset="-122"/>
              <a:ea typeface="微软雅黑" pitchFamily="34" charset="-122"/>
            </a:endParaRPr>
          </a:p>
          <a:p>
            <a:r>
              <a:rPr lang="en-US" altLang="zh-CN" sz="1400" b="1" dirty="0">
                <a:solidFill>
                  <a:srgbClr val="C00000"/>
                </a:solidFill>
                <a:latin typeface="微软雅黑" pitchFamily="34" charset="-122"/>
                <a:ea typeface="微软雅黑" pitchFamily="34" charset="-122"/>
              </a:rPr>
              <a:t>Production Process</a:t>
            </a:r>
            <a:endParaRPr lang="en-US" altLang="zh-CN" sz="1400" b="1" dirty="0">
              <a:solidFill>
                <a:srgbClr val="C00000"/>
              </a:solidFill>
              <a:latin typeface="微软雅黑" pitchFamily="34" charset="-122"/>
              <a:ea typeface="微软雅黑" pitchFamily="34" charset="-122"/>
              <a:cs typeface="Arial" pitchFamily="34" charset="0"/>
              <a:sym typeface="黑体" pitchFamily="49" charset="-122"/>
            </a:endParaRPr>
          </a:p>
        </p:txBody>
      </p:sp>
      <p:sp>
        <p:nvSpPr>
          <p:cNvPr id="6" name="Rectangle 272"/>
          <p:cNvSpPr>
            <a:spLocks noChangeArrowheads="1"/>
          </p:cNvSpPr>
          <p:nvPr/>
        </p:nvSpPr>
        <p:spPr bwMode="auto">
          <a:xfrm>
            <a:off x="628559" y="651279"/>
            <a:ext cx="45719" cy="55004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759" tIns="47881" rIns="95759" bIns="47881" anchor="ctr"/>
          <a:lstStyle/>
          <a:p>
            <a:pPr eaLnBrk="0" hangingPunct="0"/>
            <a:endParaRPr lang="zh-CN" altLang="zh-CN">
              <a:solidFill>
                <a:schemeClr val="bg1">
                  <a:lumMod val="50000"/>
                </a:schemeClr>
              </a:solidFill>
              <a:sym typeface="宋体" pitchFamily="2" charset="-122"/>
            </a:endParaRPr>
          </a:p>
        </p:txBody>
      </p:sp>
      <p:sp>
        <p:nvSpPr>
          <p:cNvPr id="10" name="灯片编号占位符 1"/>
          <p:cNvSpPr>
            <a:spLocks noGrp="1"/>
          </p:cNvSpPr>
          <p:nvPr>
            <p:ph type="sldNum" sz="quarter" idx="10"/>
          </p:nvPr>
        </p:nvSpPr>
        <p:spPr>
          <a:xfrm>
            <a:off x="8651507" y="5343123"/>
            <a:ext cx="36004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fld id="{A6C54AB4-FD64-4F86-9BF0-7210CD94CCAC}" type="slidenum">
              <a:rPr lang="zh-CN" altLang="en-US" sz="1000">
                <a:solidFill>
                  <a:srgbClr val="7F7F7F"/>
                </a:solidFill>
                <a:latin typeface="微软雅黑" pitchFamily="34" charset="-122"/>
                <a:ea typeface="微软雅黑" pitchFamily="34" charset="-122"/>
              </a:rPr>
              <a:pPr algn="ctr"/>
              <a:t>9</a:t>
            </a:fld>
            <a:endParaRPr lang="zh-CN" altLang="en-US" sz="1000" dirty="0">
              <a:solidFill>
                <a:srgbClr val="7F7F7F"/>
              </a:solidFill>
              <a:latin typeface="微软雅黑" pitchFamily="34" charset="-122"/>
              <a:ea typeface="微软雅黑" pitchFamily="34" charset="-122"/>
            </a:endParaRPr>
          </a:p>
        </p:txBody>
      </p:sp>
      <p:grpSp>
        <p:nvGrpSpPr>
          <p:cNvPr id="2" name="组合 1"/>
          <p:cNvGrpSpPr/>
          <p:nvPr/>
        </p:nvGrpSpPr>
        <p:grpSpPr>
          <a:xfrm>
            <a:off x="1403651" y="1417343"/>
            <a:ext cx="6525230" cy="4161269"/>
            <a:chOff x="1403648" y="1417340"/>
            <a:chExt cx="6525230" cy="4161269"/>
          </a:xfrm>
        </p:grpSpPr>
        <p:sp>
          <p:nvSpPr>
            <p:cNvPr id="4" name="椭圆 3"/>
            <p:cNvSpPr/>
            <p:nvPr/>
          </p:nvSpPr>
          <p:spPr>
            <a:xfrm>
              <a:off x="3732544" y="1952364"/>
              <a:ext cx="1906987" cy="1906987"/>
            </a:xfrm>
            <a:prstGeom prst="ellipse">
              <a:avLst/>
            </a:prstGeom>
            <a:gradFill flip="none" rotWithShape="1">
              <a:gsLst>
                <a:gs pos="0">
                  <a:schemeClr val="accent6">
                    <a:lumMod val="40000"/>
                    <a:lumOff val="60000"/>
                    <a:alpha val="0"/>
                  </a:schemeClr>
                </a:gs>
                <a:gs pos="50000">
                  <a:schemeClr val="accent6">
                    <a:lumMod val="60000"/>
                    <a:lumOff val="40000"/>
                    <a:alpha val="71000"/>
                  </a:schemeClr>
                </a:gs>
                <a:gs pos="100000">
                  <a:schemeClr val="accent6">
                    <a:lumMod val="40000"/>
                    <a:lumOff val="60000"/>
                    <a:alpha val="0"/>
                  </a:schemeClr>
                </a:gs>
              </a:gsLst>
              <a:path path="circle">
                <a:fillToRect l="100000" t="100000"/>
              </a:path>
              <a:tileRect r="-100000" b="-100000"/>
            </a:gradFill>
            <a:ln>
              <a:gradFill>
                <a:gsLst>
                  <a:gs pos="0">
                    <a:schemeClr val="accent6">
                      <a:lumMod val="40000"/>
                      <a:lumOff val="60000"/>
                    </a:schemeClr>
                  </a:gs>
                  <a:gs pos="50000">
                    <a:schemeClr val="accent6">
                      <a:lumMod val="75000"/>
                      <a:alpha val="68000"/>
                    </a:schemeClr>
                  </a:gs>
                  <a:gs pos="100000">
                    <a:schemeClr val="accent6">
                      <a:lumMod val="40000"/>
                      <a:lumOff val="60000"/>
                    </a:schemeClr>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p:cNvSpPr/>
            <p:nvPr/>
          </p:nvSpPr>
          <p:spPr>
            <a:xfrm>
              <a:off x="3568956" y="1788776"/>
              <a:ext cx="2251820" cy="2251820"/>
            </a:xfrm>
            <a:prstGeom prst="ellipse">
              <a:avLst/>
            </a:prstGeom>
            <a:noFill/>
            <a:ln>
              <a:gradFill>
                <a:gsLst>
                  <a:gs pos="41000">
                    <a:schemeClr val="accent6">
                      <a:lumMod val="60000"/>
                      <a:lumOff val="40000"/>
                    </a:schemeClr>
                  </a:gs>
                  <a:gs pos="0">
                    <a:schemeClr val="accent6">
                      <a:lumMod val="40000"/>
                      <a:lumOff val="60000"/>
                    </a:schemeClr>
                  </a:gs>
                  <a:gs pos="100000">
                    <a:schemeClr val="accent6">
                      <a:lumMod val="40000"/>
                      <a:lumOff val="60000"/>
                    </a:schemeClr>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椭圆 23"/>
            <p:cNvSpPr/>
            <p:nvPr/>
          </p:nvSpPr>
          <p:spPr>
            <a:xfrm>
              <a:off x="4049789" y="2240396"/>
              <a:ext cx="1314299" cy="1314299"/>
            </a:xfrm>
            <a:prstGeom prst="ellipse">
              <a:avLst/>
            </a:prstGeom>
            <a:noFill/>
            <a:ln>
              <a:gradFill>
                <a:gsLst>
                  <a:gs pos="0">
                    <a:schemeClr val="accent6">
                      <a:lumMod val="40000"/>
                      <a:lumOff val="60000"/>
                    </a:schemeClr>
                  </a:gs>
                  <a:gs pos="50000">
                    <a:schemeClr val="accent6">
                      <a:lumMod val="60000"/>
                      <a:lumOff val="40000"/>
                    </a:schemeClr>
                  </a:gs>
                  <a:gs pos="100000">
                    <a:schemeClr val="accent6">
                      <a:lumMod val="40000"/>
                      <a:lumOff val="60000"/>
                      <a:alpha val="91000"/>
                    </a:schemeClr>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074"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1521163" y="3515450"/>
              <a:ext cx="1652841" cy="1097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7" name="Picture 5"/>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1521163" y="1429471"/>
              <a:ext cx="1652841" cy="1097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8" name="Picture 6"/>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6182696" y="1417340"/>
              <a:ext cx="1674174" cy="1097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6222521" y="3515450"/>
              <a:ext cx="1634349" cy="1097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Text Box 6"/>
            <p:cNvSpPr txBox="1">
              <a:spLocks noChangeArrowheads="1"/>
            </p:cNvSpPr>
            <p:nvPr/>
          </p:nvSpPr>
          <p:spPr bwMode="auto">
            <a:xfrm>
              <a:off x="3923928" y="2651908"/>
              <a:ext cx="1530170" cy="461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07" tIns="45705" rIns="91407" bIns="45705">
              <a:spAutoFit/>
            </a:bodyPr>
            <a:lstStyle>
              <a:lvl1pPr>
                <a:defRPr sz="3400">
                  <a:solidFill>
                    <a:schemeClr val="tx1"/>
                  </a:solidFill>
                  <a:latin typeface="Calibri" pitchFamily="34" charset="0"/>
                  <a:ea typeface="宋体" pitchFamily="2" charset="-122"/>
                  <a:sym typeface="MS PGothic" pitchFamily="34" charset="-128"/>
                </a:defRPr>
              </a:lvl1pPr>
              <a:lvl2pPr marL="742950" indent="-285750">
                <a:defRPr sz="2900">
                  <a:solidFill>
                    <a:schemeClr val="tx1"/>
                  </a:solidFill>
                  <a:latin typeface="Calibri" pitchFamily="34" charset="0"/>
                  <a:ea typeface="宋体" pitchFamily="2" charset="-122"/>
                  <a:sym typeface="MS PGothic" pitchFamily="34" charset="-128"/>
                </a:defRPr>
              </a:lvl2pPr>
              <a:lvl3pPr marL="1143000" indent="-228600">
                <a:defRPr sz="2500">
                  <a:solidFill>
                    <a:schemeClr val="tx1"/>
                  </a:solidFill>
                  <a:latin typeface="Calibri" pitchFamily="34" charset="0"/>
                  <a:ea typeface="宋体" pitchFamily="2" charset="-122"/>
                  <a:sym typeface="MS PGothic" pitchFamily="34" charset="-128"/>
                </a:defRPr>
              </a:lvl3pPr>
              <a:lvl4pPr marL="1600200" indent="-228600">
                <a:defRPr sz="2100">
                  <a:solidFill>
                    <a:schemeClr val="tx1"/>
                  </a:solidFill>
                  <a:latin typeface="Calibri" pitchFamily="34" charset="0"/>
                  <a:ea typeface="宋体" pitchFamily="2" charset="-122"/>
                  <a:sym typeface="MS PGothic" pitchFamily="34" charset="-128"/>
                </a:defRPr>
              </a:lvl4pPr>
              <a:lvl5pPr marL="2057400" indent="-228600">
                <a:defRPr sz="2100">
                  <a:solidFill>
                    <a:schemeClr val="tx1"/>
                  </a:solidFill>
                  <a:latin typeface="Calibri" pitchFamily="34" charset="0"/>
                  <a:ea typeface="宋体" pitchFamily="2" charset="-122"/>
                  <a:sym typeface="MS PGothic" pitchFamily="34" charset="-128"/>
                </a:defRPr>
              </a:lvl5pPr>
              <a:lvl6pPr marL="2514600" indent="-228600" eaLnBrk="0" hangingPunct="0">
                <a:defRPr sz="2100">
                  <a:solidFill>
                    <a:schemeClr val="tx1"/>
                  </a:solidFill>
                  <a:latin typeface="Calibri" pitchFamily="34" charset="0"/>
                  <a:ea typeface="宋体" pitchFamily="2" charset="-122"/>
                  <a:sym typeface="MS PGothic" pitchFamily="34" charset="-128"/>
                </a:defRPr>
              </a:lvl6pPr>
              <a:lvl7pPr marL="2971800" indent="-228600" eaLnBrk="0" hangingPunct="0">
                <a:defRPr sz="2100">
                  <a:solidFill>
                    <a:schemeClr val="tx1"/>
                  </a:solidFill>
                  <a:latin typeface="Calibri" pitchFamily="34" charset="0"/>
                  <a:ea typeface="宋体" pitchFamily="2" charset="-122"/>
                  <a:sym typeface="MS PGothic" pitchFamily="34" charset="-128"/>
                </a:defRPr>
              </a:lvl7pPr>
              <a:lvl8pPr marL="3429000" indent="-228600" eaLnBrk="0" hangingPunct="0">
                <a:defRPr sz="2100">
                  <a:solidFill>
                    <a:schemeClr val="tx1"/>
                  </a:solidFill>
                  <a:latin typeface="Calibri" pitchFamily="34" charset="0"/>
                  <a:ea typeface="宋体" pitchFamily="2" charset="-122"/>
                  <a:sym typeface="MS PGothic" pitchFamily="34" charset="-128"/>
                </a:defRPr>
              </a:lvl8pPr>
              <a:lvl9pPr marL="3886200" indent="-228600" eaLnBrk="0" hangingPunct="0">
                <a:defRPr sz="2100">
                  <a:solidFill>
                    <a:schemeClr val="tx1"/>
                  </a:solidFill>
                  <a:latin typeface="Calibri" pitchFamily="34" charset="0"/>
                  <a:ea typeface="宋体" pitchFamily="2" charset="-122"/>
                  <a:sym typeface="MS PGothic" pitchFamily="34" charset="-128"/>
                </a:defRPr>
              </a:lvl9pPr>
            </a:lstStyle>
            <a:p>
              <a:pPr algn="ctr" eaLnBrk="0" hangingPunct="0"/>
              <a:r>
                <a:rPr lang="zh-CN" altLang="en-US" sz="1400" b="1" dirty="0">
                  <a:solidFill>
                    <a:schemeClr val="tx1">
                      <a:lumMod val="50000"/>
                      <a:lumOff val="50000"/>
                    </a:schemeClr>
                  </a:solidFill>
                  <a:latin typeface="微软雅黑" pitchFamily="34" charset="-122"/>
                  <a:ea typeface="微软雅黑" pitchFamily="34" charset="-122"/>
                </a:rPr>
                <a:t>感知质量</a:t>
              </a:r>
              <a:endParaRPr lang="en-US" altLang="zh-CN" sz="1400" b="1" dirty="0">
                <a:solidFill>
                  <a:schemeClr val="tx1">
                    <a:lumMod val="50000"/>
                    <a:lumOff val="50000"/>
                  </a:schemeClr>
                </a:solidFill>
                <a:latin typeface="微软雅黑" pitchFamily="34" charset="-122"/>
                <a:ea typeface="微软雅黑" pitchFamily="34" charset="-122"/>
              </a:endParaRPr>
            </a:p>
            <a:p>
              <a:pPr algn="ctr" eaLnBrk="0" hangingPunct="0"/>
              <a:r>
                <a:rPr lang="en-US" altLang="zh-CN" sz="1000" b="1" dirty="0">
                  <a:solidFill>
                    <a:schemeClr val="tx1">
                      <a:lumMod val="50000"/>
                      <a:lumOff val="50000"/>
                    </a:schemeClr>
                  </a:solidFill>
                  <a:latin typeface="微软雅黑" pitchFamily="34" charset="-122"/>
                  <a:ea typeface="微软雅黑" pitchFamily="34" charset="-122"/>
                </a:rPr>
                <a:t>Perceived Quality</a:t>
              </a:r>
              <a:endParaRPr lang="de-DE" altLang="zh-CN" sz="1000" b="1" dirty="0">
                <a:solidFill>
                  <a:schemeClr val="tx1">
                    <a:lumMod val="50000"/>
                    <a:lumOff val="50000"/>
                  </a:schemeClr>
                </a:solidFill>
                <a:latin typeface="微软雅黑" pitchFamily="34" charset="-122"/>
                <a:ea typeface="微软雅黑" pitchFamily="34" charset="-122"/>
              </a:endParaRPr>
            </a:p>
          </p:txBody>
        </p:sp>
        <p:cxnSp>
          <p:nvCxnSpPr>
            <p:cNvPr id="12" name="直接连接符 11"/>
            <p:cNvCxnSpPr/>
            <p:nvPr/>
          </p:nvCxnSpPr>
          <p:spPr>
            <a:xfrm>
              <a:off x="4736088" y="1520316"/>
              <a:ext cx="0" cy="823210"/>
            </a:xfrm>
            <a:prstGeom prst="line">
              <a:avLst/>
            </a:prstGeom>
            <a:ln>
              <a:gradFill>
                <a:gsLst>
                  <a:gs pos="0">
                    <a:schemeClr val="accent6">
                      <a:lumMod val="60000"/>
                      <a:lumOff val="40000"/>
                      <a:alpha val="18000"/>
                    </a:schemeClr>
                  </a:gs>
                  <a:gs pos="100000">
                    <a:schemeClr val="accent6">
                      <a:lumMod val="96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flipH="1">
              <a:off x="5251710" y="2875147"/>
              <a:ext cx="660944" cy="0"/>
            </a:xfrm>
            <a:prstGeom prst="line">
              <a:avLst/>
            </a:prstGeom>
            <a:ln>
              <a:gradFill>
                <a:gsLst>
                  <a:gs pos="0">
                    <a:schemeClr val="accent6">
                      <a:lumMod val="20000"/>
                      <a:lumOff val="80000"/>
                      <a:alpha val="0"/>
                    </a:schemeClr>
                  </a:gs>
                  <a:gs pos="100000">
                    <a:schemeClr val="accent6">
                      <a:lumMod val="76000"/>
                      <a:lumOff val="24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nvCxnSpPr>
          <p:spPr>
            <a:xfrm flipV="1">
              <a:off x="4736088" y="3440727"/>
              <a:ext cx="0" cy="870870"/>
            </a:xfrm>
            <a:prstGeom prst="line">
              <a:avLst/>
            </a:prstGeom>
            <a:ln>
              <a:gradFill>
                <a:gsLst>
                  <a:gs pos="0">
                    <a:schemeClr val="accent6">
                      <a:lumMod val="20000"/>
                      <a:lumOff val="80000"/>
                    </a:schemeClr>
                  </a:gs>
                  <a:gs pos="100000">
                    <a:schemeClr val="accent6">
                      <a:lumMod val="99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flipV="1">
              <a:off x="2987824" y="2875205"/>
              <a:ext cx="1163150" cy="22340"/>
            </a:xfrm>
            <a:prstGeom prst="line">
              <a:avLst/>
            </a:prstGeom>
            <a:ln>
              <a:gradFill>
                <a:gsLst>
                  <a:gs pos="0">
                    <a:schemeClr val="accent6">
                      <a:alpha val="0"/>
                      <a:lumMod val="65000"/>
                    </a:schemeClr>
                  </a:gs>
                  <a:gs pos="100000">
                    <a:schemeClr val="accent6">
                      <a:lumMod val="71000"/>
                      <a:lumOff val="29000"/>
                      <a:alpha val="73000"/>
                    </a:schemeClr>
                  </a:gs>
                </a:gsLst>
                <a:lin ang="5400000" scaled="0"/>
              </a:gradFill>
            </a:ln>
          </p:spPr>
          <p:style>
            <a:lnRef idx="1">
              <a:schemeClr val="accent1"/>
            </a:lnRef>
            <a:fillRef idx="0">
              <a:schemeClr val="accent1"/>
            </a:fillRef>
            <a:effectRef idx="0">
              <a:schemeClr val="accent1"/>
            </a:effectRef>
            <a:fontRef idx="minor">
              <a:schemeClr val="tx1"/>
            </a:fontRef>
          </p:style>
        </p:cxnSp>
        <p:sp>
          <p:nvSpPr>
            <p:cNvPr id="45" name="矩形 3"/>
            <p:cNvSpPr>
              <a:spLocks noChangeArrowheads="1"/>
            </p:cNvSpPr>
            <p:nvPr/>
          </p:nvSpPr>
          <p:spPr bwMode="auto">
            <a:xfrm>
              <a:off x="1403648" y="2778793"/>
              <a:ext cx="234976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0" hangingPunct="0">
                <a:lnSpc>
                  <a:spcPct val="125000"/>
                </a:lnSpc>
              </a:pPr>
              <a:r>
                <a:rPr lang="zh-CN" altLang="zh-CN" sz="800" dirty="0">
                  <a:latin typeface="微软雅黑" pitchFamily="34" charset="-122"/>
                  <a:ea typeface="微软雅黑" pitchFamily="34" charset="-122"/>
                  <a:sym typeface="MS PGothic" pitchFamily="34" charset="-128"/>
                </a:rPr>
                <a:t>先进的视觉对中系统</a:t>
              </a:r>
              <a:endParaRPr lang="en-US" altLang="zh-CN" sz="800" dirty="0">
                <a:latin typeface="微软雅黑" pitchFamily="34" charset="-122"/>
                <a:ea typeface="微软雅黑" pitchFamily="34" charset="-122"/>
                <a:sym typeface="MS PGothic" pitchFamily="34" charset="-128"/>
              </a:endParaRPr>
            </a:p>
            <a:p>
              <a:pPr eaLnBrk="0" hangingPunct="0">
                <a:lnSpc>
                  <a:spcPct val="125000"/>
                </a:lnSpc>
              </a:pPr>
              <a:r>
                <a:rPr lang="en-US" altLang="zh-CN" sz="800" dirty="0">
                  <a:latin typeface="微软雅黑" pitchFamily="34" charset="-122"/>
                  <a:ea typeface="微软雅黑" pitchFamily="34" charset="-122"/>
                  <a:sym typeface="MS PGothic" pitchFamily="34" charset="-128"/>
                </a:rPr>
                <a:t>Advanced visual central alignment system</a:t>
              </a:r>
            </a:p>
            <a:p>
              <a:pPr eaLnBrk="0" hangingPunct="0">
                <a:lnSpc>
                  <a:spcPct val="125000"/>
                </a:lnSpc>
              </a:pPr>
              <a:r>
                <a:rPr lang="zh-CN" altLang="zh-CN" sz="800" dirty="0">
                  <a:latin typeface="微软雅黑" pitchFamily="34" charset="-122"/>
                  <a:ea typeface="微软雅黑" pitchFamily="34" charset="-122"/>
                  <a:sym typeface="MS PGothic" pitchFamily="34" charset="-128"/>
                </a:rPr>
                <a:t>全封闭隔音措施</a:t>
              </a:r>
              <a:endParaRPr lang="en-US" altLang="zh-CN" sz="800" dirty="0">
                <a:latin typeface="微软雅黑" pitchFamily="34" charset="-122"/>
                <a:ea typeface="微软雅黑" pitchFamily="34" charset="-122"/>
                <a:sym typeface="MS PGothic" pitchFamily="34" charset="-128"/>
              </a:endParaRPr>
            </a:p>
            <a:p>
              <a:pPr eaLnBrk="0" hangingPunct="0">
                <a:lnSpc>
                  <a:spcPct val="125000"/>
                </a:lnSpc>
              </a:pPr>
              <a:r>
                <a:rPr lang="en-US" altLang="zh-CN" sz="800" dirty="0">
                  <a:latin typeface="微软雅黑" pitchFamily="34" charset="-122"/>
                  <a:ea typeface="微软雅黑" pitchFamily="34" charset="-122"/>
                  <a:sym typeface="MS PGothic" pitchFamily="34" charset="-128"/>
                </a:rPr>
                <a:t>Whole sealing acoustic measure</a:t>
              </a:r>
            </a:p>
          </p:txBody>
        </p:sp>
        <p:sp>
          <p:nvSpPr>
            <p:cNvPr id="46" name="矩形 40"/>
            <p:cNvSpPr>
              <a:spLocks noChangeArrowheads="1"/>
            </p:cNvSpPr>
            <p:nvPr/>
          </p:nvSpPr>
          <p:spPr bwMode="auto">
            <a:xfrm>
              <a:off x="1419289" y="2565092"/>
              <a:ext cx="147002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hangingPunct="0"/>
              <a:r>
                <a:rPr lang="zh-CN" altLang="en-US" sz="1100" b="1" dirty="0">
                  <a:solidFill>
                    <a:srgbClr val="C00000"/>
                  </a:solidFill>
                  <a:latin typeface="微软雅黑" pitchFamily="34" charset="-122"/>
                  <a:ea typeface="微软雅黑" pitchFamily="34" charset="-122"/>
                  <a:sym typeface="MS PGothic" pitchFamily="34" charset="-128"/>
                </a:rPr>
                <a:t>冲压</a:t>
              </a:r>
              <a:r>
                <a:rPr lang="en-US" altLang="zh-CN" sz="1100" b="1" dirty="0">
                  <a:solidFill>
                    <a:srgbClr val="C00000"/>
                  </a:solidFill>
                  <a:latin typeface="微软雅黑" pitchFamily="34" charset="-122"/>
                  <a:ea typeface="微软雅黑" pitchFamily="34" charset="-122"/>
                  <a:sym typeface="MS PGothic" pitchFamily="34" charset="-128"/>
                </a:rPr>
                <a:t>Stamping</a:t>
              </a:r>
              <a:endParaRPr lang="zh-CN" altLang="en-US" sz="1100" b="1" dirty="0">
                <a:solidFill>
                  <a:srgbClr val="C00000"/>
                </a:solidFill>
                <a:latin typeface="微软雅黑" pitchFamily="34" charset="-122"/>
                <a:ea typeface="微软雅黑" pitchFamily="34" charset="-122"/>
                <a:sym typeface="MS PGothic" pitchFamily="34" charset="-128"/>
              </a:endParaRPr>
            </a:p>
          </p:txBody>
        </p:sp>
        <p:sp>
          <p:nvSpPr>
            <p:cNvPr id="47" name="矩形 46"/>
            <p:cNvSpPr>
              <a:spLocks noChangeArrowheads="1"/>
            </p:cNvSpPr>
            <p:nvPr/>
          </p:nvSpPr>
          <p:spPr bwMode="auto">
            <a:xfrm>
              <a:off x="1449155" y="4654606"/>
              <a:ext cx="13906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hangingPunct="0"/>
              <a:r>
                <a:rPr lang="zh-CN" altLang="en-US" sz="1100" b="1" dirty="0">
                  <a:solidFill>
                    <a:srgbClr val="C00000"/>
                  </a:solidFill>
                  <a:latin typeface="微软雅黑" pitchFamily="34" charset="-122"/>
                  <a:ea typeface="微软雅黑" pitchFamily="34" charset="-122"/>
                  <a:sym typeface="MS PGothic" pitchFamily="34" charset="-128"/>
                </a:rPr>
                <a:t>涂装</a:t>
              </a:r>
              <a:r>
                <a:rPr lang="en-US" altLang="zh-CN" sz="1100" b="1" dirty="0">
                  <a:solidFill>
                    <a:srgbClr val="C00000"/>
                  </a:solidFill>
                  <a:latin typeface="微软雅黑" pitchFamily="34" charset="-122"/>
                  <a:ea typeface="微软雅黑" pitchFamily="34" charset="-122"/>
                  <a:sym typeface="MS PGothic" pitchFamily="34" charset="-128"/>
                </a:rPr>
                <a:t>Painting</a:t>
              </a:r>
              <a:endParaRPr lang="zh-CN" altLang="en-US" sz="1100" b="1" dirty="0">
                <a:solidFill>
                  <a:srgbClr val="C00000"/>
                </a:solidFill>
                <a:latin typeface="微软雅黑" pitchFamily="34" charset="-122"/>
                <a:ea typeface="微软雅黑" pitchFamily="34" charset="-122"/>
                <a:sym typeface="MS PGothic" pitchFamily="34" charset="-128"/>
              </a:endParaRPr>
            </a:p>
          </p:txBody>
        </p:sp>
        <p:sp>
          <p:nvSpPr>
            <p:cNvPr id="48" name="矩形 47"/>
            <p:cNvSpPr>
              <a:spLocks noChangeArrowheads="1"/>
            </p:cNvSpPr>
            <p:nvPr/>
          </p:nvSpPr>
          <p:spPr bwMode="auto">
            <a:xfrm>
              <a:off x="1449156" y="4870723"/>
              <a:ext cx="2511852"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0" hangingPunct="0">
                <a:lnSpc>
                  <a:spcPct val="125000"/>
                </a:lnSpc>
              </a:pPr>
              <a:r>
                <a:rPr lang="zh-CN" altLang="en-US" sz="800" dirty="0">
                  <a:latin typeface="微软雅黑" pitchFamily="34" charset="-122"/>
                  <a:ea typeface="微软雅黑" pitchFamily="34" charset="-122"/>
                  <a:sym typeface="MS PGothic" pitchFamily="34" charset="-128"/>
                </a:rPr>
                <a:t>采用国际先进的水性免中涂紧凑型工艺（</a:t>
              </a:r>
              <a:r>
                <a:rPr lang="en-US" altLang="zh-CN" sz="800" dirty="0">
                  <a:latin typeface="微软雅黑" pitchFamily="34" charset="-122"/>
                  <a:ea typeface="微软雅黑" pitchFamily="34" charset="-122"/>
                  <a:sym typeface="MS PGothic" pitchFamily="34" charset="-128"/>
                </a:rPr>
                <a:t>IPP2</a:t>
              </a:r>
              <a:r>
                <a:rPr lang="zh-CN" altLang="en-US" sz="800" dirty="0">
                  <a:latin typeface="微软雅黑" pitchFamily="34" charset="-122"/>
                  <a:ea typeface="微软雅黑" pitchFamily="34" charset="-122"/>
                  <a:sym typeface="MS PGothic" pitchFamily="34" charset="-128"/>
                </a:rPr>
                <a:t>）</a:t>
              </a:r>
              <a:endParaRPr lang="en-US" altLang="zh-CN" sz="800" dirty="0">
                <a:latin typeface="微软雅黑" pitchFamily="34" charset="-122"/>
                <a:ea typeface="微软雅黑" pitchFamily="34" charset="-122"/>
                <a:sym typeface="MS PGothic" pitchFamily="34" charset="-128"/>
              </a:endParaRPr>
            </a:p>
            <a:p>
              <a:pPr eaLnBrk="0" hangingPunct="0">
                <a:lnSpc>
                  <a:spcPct val="125000"/>
                </a:lnSpc>
              </a:pPr>
              <a:r>
                <a:rPr lang="en-US" altLang="zh-CN" sz="800" dirty="0">
                  <a:latin typeface="微软雅黑" pitchFamily="34" charset="-122"/>
                  <a:ea typeface="微软雅黑" pitchFamily="34" charset="-122"/>
                  <a:sym typeface="MS PGothic" pitchFamily="34" charset="-128"/>
                </a:rPr>
                <a:t>Adopt internationally-advanced IPP2</a:t>
              </a:r>
            </a:p>
            <a:p>
              <a:pPr eaLnBrk="0" hangingPunct="0">
                <a:lnSpc>
                  <a:spcPct val="125000"/>
                </a:lnSpc>
              </a:pPr>
              <a:r>
                <a:rPr lang="zh-CN" altLang="en-US" sz="800" dirty="0">
                  <a:latin typeface="微软雅黑" pitchFamily="34" charset="-122"/>
                  <a:ea typeface="微软雅黑" pitchFamily="34" charset="-122"/>
                  <a:sym typeface="MS PGothic" pitchFamily="34" charset="-128"/>
                </a:rPr>
                <a:t>降低能源消耗</a:t>
              </a:r>
              <a:r>
                <a:rPr lang="en-US" altLang="zh-CN" sz="800" dirty="0">
                  <a:latin typeface="微软雅黑" pitchFamily="34" charset="-122"/>
                  <a:ea typeface="微软雅黑" pitchFamily="34" charset="-122"/>
                  <a:sym typeface="MS PGothic" pitchFamily="34" charset="-128"/>
                </a:rPr>
                <a:t>15%</a:t>
              </a:r>
              <a:r>
                <a:rPr lang="zh-CN" altLang="en-US" sz="800" dirty="0">
                  <a:latin typeface="微软雅黑" pitchFamily="34" charset="-122"/>
                  <a:ea typeface="微软雅黑" pitchFamily="34" charset="-122"/>
                  <a:sym typeface="MS PGothic" pitchFamily="34" charset="-128"/>
                </a:rPr>
                <a:t>，降低</a:t>
              </a:r>
              <a:r>
                <a:rPr lang="en-US" altLang="zh-CN" sz="800" dirty="0">
                  <a:latin typeface="微软雅黑" pitchFamily="34" charset="-122"/>
                  <a:ea typeface="微软雅黑" pitchFamily="34" charset="-122"/>
                  <a:sym typeface="MS PGothic" pitchFamily="34" charset="-128"/>
                </a:rPr>
                <a:t>VOC</a:t>
              </a:r>
              <a:r>
                <a:rPr lang="zh-CN" altLang="en-US" sz="800" dirty="0">
                  <a:latin typeface="微软雅黑" pitchFamily="34" charset="-122"/>
                  <a:ea typeface="微软雅黑" pitchFamily="34" charset="-122"/>
                  <a:sym typeface="MS PGothic" pitchFamily="34" charset="-128"/>
                </a:rPr>
                <a:t>排放</a:t>
              </a:r>
              <a:r>
                <a:rPr lang="en-US" altLang="zh-CN" sz="800" dirty="0">
                  <a:latin typeface="微软雅黑" pitchFamily="34" charset="-122"/>
                  <a:ea typeface="微软雅黑" pitchFamily="34" charset="-122"/>
                  <a:sym typeface="MS PGothic" pitchFamily="34" charset="-128"/>
                </a:rPr>
                <a:t>50%</a:t>
              </a:r>
            </a:p>
            <a:p>
              <a:pPr eaLnBrk="0" hangingPunct="0">
                <a:lnSpc>
                  <a:spcPct val="125000"/>
                </a:lnSpc>
              </a:pPr>
              <a:r>
                <a:rPr lang="en-US" altLang="zh-CN" sz="800" dirty="0">
                  <a:latin typeface="微软雅黑" pitchFamily="34" charset="-122"/>
                  <a:ea typeface="微软雅黑" pitchFamily="34" charset="-122"/>
                  <a:sym typeface="MS PGothic" pitchFamily="34" charset="-128"/>
                </a:rPr>
                <a:t>Reduce energy by 15%, reduce VOC by 50%</a:t>
              </a:r>
            </a:p>
          </p:txBody>
        </p:sp>
        <p:sp>
          <p:nvSpPr>
            <p:cNvPr id="49" name="矩形 43"/>
            <p:cNvSpPr>
              <a:spLocks noChangeArrowheads="1"/>
            </p:cNvSpPr>
            <p:nvPr/>
          </p:nvSpPr>
          <p:spPr bwMode="auto">
            <a:xfrm>
              <a:off x="6756326" y="2509591"/>
              <a:ext cx="117255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eaLnBrk="0" hangingPunct="0"/>
              <a:r>
                <a:rPr lang="zh-CN" altLang="en-US" sz="1100" b="1" dirty="0">
                  <a:solidFill>
                    <a:srgbClr val="C00000"/>
                  </a:solidFill>
                  <a:latin typeface="微软雅黑" pitchFamily="34" charset="-122"/>
                  <a:ea typeface="微软雅黑" pitchFamily="34" charset="-122"/>
                  <a:sym typeface="MS PGothic" pitchFamily="34" charset="-128"/>
                </a:rPr>
                <a:t>焊装</a:t>
              </a:r>
              <a:r>
                <a:rPr lang="en-US" altLang="zh-CN" sz="1100" b="1" dirty="0">
                  <a:solidFill>
                    <a:srgbClr val="C00000"/>
                  </a:solidFill>
                  <a:latin typeface="微软雅黑" pitchFamily="34" charset="-122"/>
                  <a:ea typeface="微软雅黑" pitchFamily="34" charset="-122"/>
                  <a:sym typeface="MS PGothic" pitchFamily="34" charset="-128"/>
                </a:rPr>
                <a:t>Welding</a:t>
              </a:r>
              <a:endParaRPr lang="zh-CN" altLang="en-US" sz="1100" b="1" dirty="0">
                <a:solidFill>
                  <a:srgbClr val="C00000"/>
                </a:solidFill>
                <a:latin typeface="微软雅黑" pitchFamily="34" charset="-122"/>
                <a:ea typeface="微软雅黑" pitchFamily="34" charset="-122"/>
                <a:sym typeface="MS PGothic" pitchFamily="34" charset="-128"/>
              </a:endParaRPr>
            </a:p>
          </p:txBody>
        </p:sp>
        <p:sp>
          <p:nvSpPr>
            <p:cNvPr id="50" name="矩形 44"/>
            <p:cNvSpPr>
              <a:spLocks noChangeArrowheads="1"/>
            </p:cNvSpPr>
            <p:nvPr/>
          </p:nvSpPr>
          <p:spPr bwMode="auto">
            <a:xfrm>
              <a:off x="5629534" y="2747178"/>
              <a:ext cx="229934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eaLnBrk="0" hangingPunct="0">
                <a:lnSpc>
                  <a:spcPct val="125000"/>
                </a:lnSpc>
              </a:pPr>
              <a:r>
                <a:rPr lang="zh-CN" altLang="zh-CN" sz="800" dirty="0">
                  <a:latin typeface="微软雅黑" pitchFamily="34" charset="-122"/>
                  <a:ea typeface="微软雅黑" pitchFamily="34" charset="-122"/>
                  <a:sym typeface="MS PGothic" pitchFamily="34" charset="-128"/>
                </a:rPr>
                <a:t>激光焊接，强度提高</a:t>
              </a:r>
              <a:r>
                <a:rPr lang="en-US" altLang="zh-CN" sz="800" dirty="0">
                  <a:latin typeface="微软雅黑" pitchFamily="34" charset="-122"/>
                  <a:ea typeface="微软雅黑" pitchFamily="34" charset="-122"/>
                  <a:sym typeface="MS PGothic" pitchFamily="34" charset="-128"/>
                </a:rPr>
                <a:t>30%</a:t>
              </a:r>
            </a:p>
            <a:p>
              <a:pPr algn="r" eaLnBrk="0" hangingPunct="0">
                <a:lnSpc>
                  <a:spcPct val="125000"/>
                </a:lnSpc>
              </a:pPr>
              <a:r>
                <a:rPr lang="en-US" altLang="zh-CN" sz="800" dirty="0">
                  <a:latin typeface="微软雅黑" pitchFamily="34" charset="-122"/>
                  <a:ea typeface="微软雅黑" pitchFamily="34" charset="-122"/>
                  <a:sym typeface="MS PGothic" pitchFamily="34" charset="-128"/>
                </a:rPr>
                <a:t>Laser welding, strength increases by 30%</a:t>
              </a:r>
            </a:p>
            <a:p>
              <a:pPr algn="r" eaLnBrk="0" hangingPunct="0">
                <a:lnSpc>
                  <a:spcPct val="125000"/>
                </a:lnSpc>
              </a:pPr>
              <a:r>
                <a:rPr lang="zh-CN" altLang="zh-CN" sz="800" dirty="0">
                  <a:latin typeface="微软雅黑" pitchFamily="34" charset="-122"/>
                  <a:ea typeface="微软雅黑" pitchFamily="34" charset="-122"/>
                  <a:sym typeface="MS PGothic" pitchFamily="34" charset="-128"/>
                </a:rPr>
                <a:t>有效降低车内噪音</a:t>
              </a:r>
              <a:endParaRPr lang="en-US" altLang="zh-CN" sz="800" dirty="0">
                <a:latin typeface="微软雅黑" pitchFamily="34" charset="-122"/>
                <a:ea typeface="微软雅黑" pitchFamily="34" charset="-122"/>
                <a:sym typeface="MS PGothic" pitchFamily="34" charset="-128"/>
              </a:endParaRPr>
            </a:p>
            <a:p>
              <a:pPr algn="r" eaLnBrk="0" hangingPunct="0">
                <a:lnSpc>
                  <a:spcPct val="125000"/>
                </a:lnSpc>
              </a:pPr>
              <a:r>
                <a:rPr lang="en-US" altLang="zh-CN" sz="800" dirty="0">
                  <a:latin typeface="微软雅黑" pitchFamily="34" charset="-122"/>
                  <a:ea typeface="微软雅黑" pitchFamily="34" charset="-122"/>
                  <a:sym typeface="MS PGothic" pitchFamily="34" charset="-128"/>
                </a:rPr>
                <a:t>Effectively reduce noises in car</a:t>
              </a:r>
            </a:p>
          </p:txBody>
        </p:sp>
        <p:sp>
          <p:nvSpPr>
            <p:cNvPr id="51" name="矩形 49"/>
            <p:cNvSpPr>
              <a:spLocks noChangeArrowheads="1"/>
            </p:cNvSpPr>
            <p:nvPr/>
          </p:nvSpPr>
          <p:spPr bwMode="auto">
            <a:xfrm>
              <a:off x="6679793" y="4592459"/>
              <a:ext cx="124908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eaLnBrk="0" hangingPunct="0"/>
              <a:r>
                <a:rPr lang="zh-CN" altLang="en-US" sz="1100" b="1" dirty="0">
                  <a:solidFill>
                    <a:srgbClr val="C00000"/>
                  </a:solidFill>
                  <a:latin typeface="微软雅黑" pitchFamily="34" charset="-122"/>
                  <a:ea typeface="微软雅黑" pitchFamily="34" charset="-122"/>
                  <a:sym typeface="MS PGothic" pitchFamily="34" charset="-128"/>
                </a:rPr>
                <a:t>总装</a:t>
              </a:r>
              <a:r>
                <a:rPr lang="en-US" altLang="zh-CN" sz="1100" b="1" dirty="0">
                  <a:solidFill>
                    <a:srgbClr val="C00000"/>
                  </a:solidFill>
                  <a:latin typeface="微软雅黑" pitchFamily="34" charset="-122"/>
                  <a:ea typeface="微软雅黑" pitchFamily="34" charset="-122"/>
                  <a:sym typeface="MS PGothic" pitchFamily="34" charset="-128"/>
                </a:rPr>
                <a:t>Assembly</a:t>
              </a:r>
              <a:endParaRPr lang="zh-CN" altLang="en-US" sz="1100" b="1" dirty="0">
                <a:solidFill>
                  <a:srgbClr val="C00000"/>
                </a:solidFill>
                <a:latin typeface="微软雅黑" pitchFamily="34" charset="-122"/>
                <a:ea typeface="微软雅黑" pitchFamily="34" charset="-122"/>
                <a:sym typeface="MS PGothic" pitchFamily="34" charset="-128"/>
              </a:endParaRPr>
            </a:p>
          </p:txBody>
        </p:sp>
        <p:sp>
          <p:nvSpPr>
            <p:cNvPr id="52" name="矩形 4"/>
            <p:cNvSpPr>
              <a:spLocks noChangeArrowheads="1"/>
            </p:cNvSpPr>
            <p:nvPr/>
          </p:nvSpPr>
          <p:spPr bwMode="auto">
            <a:xfrm>
              <a:off x="5810780" y="4789790"/>
              <a:ext cx="211809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eaLnBrk="0" hangingPunct="0">
                <a:lnSpc>
                  <a:spcPct val="125000"/>
                </a:lnSpc>
              </a:pPr>
              <a:r>
                <a:rPr lang="zh-CN" altLang="en-US" sz="800" dirty="0">
                  <a:latin typeface="微软雅黑" pitchFamily="34" charset="-122"/>
                  <a:ea typeface="微软雅黑" pitchFamily="34" charset="-122"/>
                  <a:sym typeface="MS PGothic" pitchFamily="34" charset="-128"/>
                </a:rPr>
                <a:t>采用装配信息化管理系统</a:t>
              </a:r>
              <a:endParaRPr lang="en-US" altLang="zh-CN" sz="800" dirty="0">
                <a:latin typeface="微软雅黑" pitchFamily="34" charset="-122"/>
                <a:ea typeface="微软雅黑" pitchFamily="34" charset="-122"/>
                <a:sym typeface="MS PGothic" pitchFamily="34" charset="-128"/>
              </a:endParaRPr>
            </a:p>
            <a:p>
              <a:pPr algn="r" eaLnBrk="0" hangingPunct="0">
                <a:lnSpc>
                  <a:spcPct val="125000"/>
                </a:lnSpc>
              </a:pPr>
              <a:r>
                <a:rPr lang="en-US" altLang="zh-CN" sz="800" dirty="0">
                  <a:latin typeface="微软雅黑" pitchFamily="34" charset="-122"/>
                  <a:ea typeface="微软雅黑" pitchFamily="34" charset="-122"/>
                  <a:sym typeface="MS PGothic" pitchFamily="34" charset="-128"/>
                </a:rPr>
                <a:t>Adopt SOI</a:t>
              </a:r>
            </a:p>
            <a:p>
              <a:pPr algn="r" eaLnBrk="0" hangingPunct="0">
                <a:lnSpc>
                  <a:spcPct val="125000"/>
                </a:lnSpc>
              </a:pPr>
              <a:r>
                <a:rPr lang="zh-CN" altLang="en-US" sz="800" dirty="0">
                  <a:latin typeface="微软雅黑" pitchFamily="34" charset="-122"/>
                  <a:ea typeface="微软雅黑" pitchFamily="34" charset="-122"/>
                  <a:sym typeface="MS PGothic" pitchFamily="34" charset="-128"/>
                </a:rPr>
                <a:t>保证整车装配的一致性和可追溯性</a:t>
              </a:r>
              <a:endParaRPr lang="en-US" altLang="zh-CN" sz="800" dirty="0">
                <a:latin typeface="微软雅黑" pitchFamily="34" charset="-122"/>
                <a:ea typeface="微软雅黑" pitchFamily="34" charset="-122"/>
                <a:sym typeface="MS PGothic" pitchFamily="34" charset="-128"/>
              </a:endParaRPr>
            </a:p>
            <a:p>
              <a:pPr algn="r" eaLnBrk="0" hangingPunct="0">
                <a:lnSpc>
                  <a:spcPct val="125000"/>
                </a:lnSpc>
              </a:pPr>
              <a:r>
                <a:rPr lang="en-US" altLang="zh-CN" sz="800" dirty="0">
                  <a:latin typeface="微软雅黑" pitchFamily="34" charset="-122"/>
                  <a:ea typeface="微软雅黑" pitchFamily="34" charset="-122"/>
                  <a:sym typeface="MS PGothic" pitchFamily="34" charset="-128"/>
                </a:rPr>
                <a:t>Ensure the integrity and traceability</a:t>
              </a:r>
            </a:p>
          </p:txBody>
        </p:sp>
        <p:sp>
          <p:nvSpPr>
            <p:cNvPr id="56" name="矩形 35"/>
            <p:cNvSpPr>
              <a:spLocks noChangeArrowheads="1"/>
            </p:cNvSpPr>
            <p:nvPr/>
          </p:nvSpPr>
          <p:spPr bwMode="auto">
            <a:xfrm>
              <a:off x="3608762" y="3711432"/>
              <a:ext cx="2286677"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1411" indent="-171411">
                <a:lnSpc>
                  <a:spcPct val="150000"/>
                </a:lnSpc>
                <a:buFont typeface="Wingdings" pitchFamily="2" charset="2"/>
                <a:buChar char="l"/>
              </a:pPr>
              <a:r>
                <a:rPr lang="en-US" altLang="zh-CN" sz="800" dirty="0">
                  <a:solidFill>
                    <a:schemeClr val="tx1">
                      <a:lumMod val="50000"/>
                      <a:lumOff val="50000"/>
                    </a:schemeClr>
                  </a:solidFill>
                  <a:latin typeface="微软雅黑" pitchFamily="34" charset="-122"/>
                  <a:ea typeface="微软雅黑" pitchFamily="34" charset="-122"/>
                  <a:sym typeface="MS PGothic" pitchFamily="34" charset="-128"/>
                </a:rPr>
                <a:t>DS</a:t>
              </a:r>
              <a:r>
                <a:rPr lang="zh-CN" altLang="en-US" sz="800" dirty="0">
                  <a:solidFill>
                    <a:schemeClr val="tx1">
                      <a:lumMod val="50000"/>
                      <a:lumOff val="50000"/>
                    </a:schemeClr>
                  </a:solidFill>
                  <a:latin typeface="微软雅黑" pitchFamily="34" charset="-122"/>
                  <a:ea typeface="微软雅黑" pitchFamily="34" charset="-122"/>
                  <a:sym typeface="MS PGothic" pitchFamily="34" charset="-128"/>
                </a:rPr>
                <a:t>车型拥有世界领先的尺寸公差技术</a:t>
              </a:r>
              <a:r>
                <a:rPr lang="en-US" altLang="zh-CN" sz="800" dirty="0">
                  <a:solidFill>
                    <a:schemeClr val="tx1">
                      <a:lumMod val="50000"/>
                      <a:lumOff val="50000"/>
                    </a:schemeClr>
                  </a:solidFill>
                  <a:latin typeface="微软雅黑" pitchFamily="34" charset="-122"/>
                  <a:ea typeface="微软雅黑" pitchFamily="34" charset="-122"/>
                  <a:sym typeface="MS PGothic" pitchFamily="34" charset="-128"/>
                </a:rPr>
                <a:t>   DS gap and flushness performance is among the best know how in the world</a:t>
              </a:r>
              <a:endParaRPr lang="zh-CN" altLang="en-US" sz="800" dirty="0">
                <a:solidFill>
                  <a:schemeClr val="tx1">
                    <a:lumMod val="50000"/>
                    <a:lumOff val="50000"/>
                  </a:schemeClr>
                </a:solidFill>
                <a:latin typeface="微软雅黑" pitchFamily="34" charset="-122"/>
                <a:ea typeface="微软雅黑" pitchFamily="34" charset="-122"/>
                <a:sym typeface="MS PGothic" pitchFamily="34" charset="-128"/>
              </a:endParaRPr>
            </a:p>
            <a:p>
              <a:pPr marL="171411" indent="-171411">
                <a:lnSpc>
                  <a:spcPct val="150000"/>
                </a:lnSpc>
                <a:buFont typeface="Wingdings" pitchFamily="2" charset="2"/>
                <a:buChar char="l"/>
              </a:pPr>
              <a:r>
                <a:rPr lang="zh-CN" altLang="en-US" sz="800" dirty="0">
                  <a:solidFill>
                    <a:schemeClr val="tx1">
                      <a:lumMod val="50000"/>
                      <a:lumOff val="50000"/>
                    </a:schemeClr>
                  </a:solidFill>
                  <a:latin typeface="微软雅黑" pitchFamily="34" charset="-122"/>
                  <a:ea typeface="微软雅黑" pitchFamily="34" charset="-122"/>
                  <a:sym typeface="MS PGothic" pitchFamily="34" charset="-128"/>
                </a:rPr>
                <a:t>目前国产</a:t>
              </a:r>
              <a:r>
                <a:rPr lang="en-US" altLang="zh-CN" sz="800" dirty="0">
                  <a:solidFill>
                    <a:schemeClr val="tx1">
                      <a:lumMod val="50000"/>
                      <a:lumOff val="50000"/>
                    </a:schemeClr>
                  </a:solidFill>
                  <a:latin typeface="微软雅黑" pitchFamily="34" charset="-122"/>
                  <a:ea typeface="微软雅黑" pitchFamily="34" charset="-122"/>
                  <a:sym typeface="MS PGothic" pitchFamily="34" charset="-128"/>
                </a:rPr>
                <a:t>DS</a:t>
              </a:r>
              <a:r>
                <a:rPr lang="zh-CN" altLang="en-US" sz="800" dirty="0">
                  <a:solidFill>
                    <a:schemeClr val="tx1">
                      <a:lumMod val="50000"/>
                      <a:lumOff val="50000"/>
                    </a:schemeClr>
                  </a:solidFill>
                  <a:latin typeface="微软雅黑" pitchFamily="34" charset="-122"/>
                  <a:ea typeface="微软雅黑" pitchFamily="34" charset="-122"/>
                  <a:sym typeface="MS PGothic" pitchFamily="34" charset="-128"/>
                </a:rPr>
                <a:t>的质量水平已经高于欧洲同期</a:t>
              </a:r>
              <a:r>
                <a:rPr lang="en-US" altLang="zh-CN" sz="800" dirty="0">
                  <a:solidFill>
                    <a:schemeClr val="tx1">
                      <a:lumMod val="50000"/>
                      <a:lumOff val="50000"/>
                    </a:schemeClr>
                  </a:solidFill>
                  <a:latin typeface="微软雅黑" pitchFamily="34" charset="-122"/>
                  <a:ea typeface="微软雅黑" pitchFamily="34" charset="-122"/>
                  <a:sym typeface="MS PGothic" pitchFamily="34" charset="-128"/>
                </a:rPr>
                <a:t>The quality of localized DS is already higher than the current European level</a:t>
              </a:r>
            </a:p>
          </p:txBody>
        </p:sp>
      </p:grpSp>
    </p:spTree>
    <p:extLst>
      <p:ext uri="{BB962C8B-B14F-4D97-AF65-F5344CB8AC3E}">
        <p14:creationId xmlns:p14="http://schemas.microsoft.com/office/powerpoint/2010/main" val="5206493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4ovSxaYIE.t.W5qXUwdGA"/>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APSA">
  <a:themeElements>
    <a:clrScheme name="CAPSA">
      <a:dk1>
        <a:srgbClr val="000000"/>
      </a:dk1>
      <a:lt1>
        <a:srgbClr val="FFFFFF"/>
      </a:lt1>
      <a:dk2>
        <a:srgbClr val="5B6973"/>
      </a:dk2>
      <a:lt2>
        <a:srgbClr val="E7ECED"/>
      </a:lt2>
      <a:accent1>
        <a:srgbClr val="D7191E"/>
      </a:accent1>
      <a:accent2>
        <a:srgbClr val="00529C"/>
      </a:accent2>
      <a:accent3>
        <a:srgbClr val="F39700"/>
      </a:accent3>
      <a:accent4>
        <a:srgbClr val="6BB93F"/>
      </a:accent4>
      <a:accent5>
        <a:srgbClr val="0097E0"/>
      </a:accent5>
      <a:accent6>
        <a:srgbClr val="C9CACA"/>
      </a:accent6>
      <a:hlink>
        <a:srgbClr val="2C4198"/>
      </a:hlink>
      <a:folHlink>
        <a:srgbClr val="598C8C"/>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200" b="0" i="0" u="none" strike="noStrike" cap="none" normalizeH="0" baseline="0" smtClean="0">
            <a:ln>
              <a:noFill/>
            </a:ln>
            <a:solidFill>
              <a:srgbClr val="000000"/>
            </a:solidFill>
            <a:effectLst/>
            <a:latin typeface="Arial" charset="0"/>
            <a:sym typeface="Arial Bold" charset="0"/>
          </a:defRPr>
        </a:defPPr>
      </a:lstStyle>
      <a:style>
        <a:lnRef idx="0">
          <a:schemeClr val="accent6"/>
        </a:lnRef>
        <a:fillRef idx="3">
          <a:schemeClr val="accent6"/>
        </a:fillRef>
        <a:effectRef idx="3">
          <a:schemeClr val="accent6"/>
        </a:effectRef>
        <a:fontRef idx="minor">
          <a:schemeClr val="lt1"/>
        </a:fontRef>
      </a:style>
    </a:spDef>
    <a:lnDef>
      <a:spPr bwMode="auto">
        <a:xfrm>
          <a:off x="0" y="0"/>
          <a:ext cx="1" cy="1"/>
        </a:xfrm>
        <a:custGeom>
          <a:avLst/>
          <a:gdLst/>
          <a:ahLst/>
          <a:cxnLst/>
          <a:rect l="0" t="0" r="0" b="0"/>
          <a:pathLst/>
        </a:custGeom>
        <a:solidFill>
          <a:srgbClr val="FFFFFF"/>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200" b="0" i="0" u="none" strike="noStrike" cap="none" normalizeH="0" baseline="0" smtClean="0">
            <a:ln>
              <a:noFill/>
            </a:ln>
            <a:solidFill>
              <a:srgbClr val="000000"/>
            </a:solidFill>
            <a:effectLst/>
            <a:latin typeface="Arial" charset="0"/>
            <a:sym typeface="Arial Bold" charset="0"/>
          </a:defRPr>
        </a:defPPr>
      </a:lstStyle>
    </a:lnDef>
  </a:objectDefaults>
  <a:extraClrSchemeLst>
    <a:extraClrScheme>
      <a:clrScheme name="CAPSA log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APSA logo 2">
        <a:dk1>
          <a:srgbClr val="000000"/>
        </a:dk1>
        <a:lt1>
          <a:srgbClr val="FFFFFF"/>
        </a:lt1>
        <a:dk2>
          <a:srgbClr val="000000"/>
        </a:dk2>
        <a:lt2>
          <a:srgbClr val="003366"/>
        </a:lt2>
        <a:accent1>
          <a:srgbClr val="FFFFFF"/>
        </a:accent1>
        <a:accent2>
          <a:srgbClr val="333399"/>
        </a:accent2>
        <a:accent3>
          <a:srgbClr val="FFFFFF"/>
        </a:accent3>
        <a:accent4>
          <a:srgbClr val="000000"/>
        </a:accent4>
        <a:accent5>
          <a:srgbClr val="FFFFF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APSA logo 3">
        <a:dk1>
          <a:srgbClr val="000000"/>
        </a:dk1>
        <a:lt1>
          <a:srgbClr val="FFFFFF"/>
        </a:lt1>
        <a:dk2>
          <a:srgbClr val="000000"/>
        </a:dk2>
        <a:lt2>
          <a:srgbClr val="336699"/>
        </a:lt2>
        <a:accent1>
          <a:srgbClr val="DDDDDD"/>
        </a:accent1>
        <a:accent2>
          <a:srgbClr val="800000"/>
        </a:accent2>
        <a:accent3>
          <a:srgbClr val="FFFFFF"/>
        </a:accent3>
        <a:accent4>
          <a:srgbClr val="000000"/>
        </a:accent4>
        <a:accent5>
          <a:srgbClr val="EBEBEB"/>
        </a:accent5>
        <a:accent6>
          <a:srgbClr val="730000"/>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APSA logo 4">
        <a:dk1>
          <a:srgbClr val="000000"/>
        </a:dk1>
        <a:lt1>
          <a:srgbClr val="FFFFFF"/>
        </a:lt1>
        <a:dk2>
          <a:srgbClr val="000000"/>
        </a:dk2>
        <a:lt2>
          <a:srgbClr val="003366"/>
        </a:lt2>
        <a:accent1>
          <a:srgbClr val="FFFFFF"/>
        </a:accent1>
        <a:accent2>
          <a:srgbClr val="003366"/>
        </a:accent2>
        <a:accent3>
          <a:srgbClr val="FFFFFF"/>
        </a:accent3>
        <a:accent4>
          <a:srgbClr val="000000"/>
        </a:accent4>
        <a:accent5>
          <a:srgbClr val="FFFFFF"/>
        </a:accent5>
        <a:accent6>
          <a:srgbClr val="002D5C"/>
        </a:accent6>
        <a:hlink>
          <a:srgbClr val="800000"/>
        </a:hlink>
        <a:folHlink>
          <a:srgbClr val="99CC00"/>
        </a:folHlink>
      </a:clrScheme>
      <a:clrMap bg1="lt1" tx1="dk1" bg2="lt2" tx2="dk2" accent1="accent1" accent2="accent2" accent3="accent3" accent4="accent4" accent5="accent5" accent6="accent6" hlink="hlink" folHlink="folHlink"/>
    </a:extraClrScheme>
    <a:extraClrScheme>
      <a:clrScheme name="CAPSA logo 5">
        <a:dk1>
          <a:srgbClr val="000000"/>
        </a:dk1>
        <a:lt1>
          <a:srgbClr val="FFFFFF"/>
        </a:lt1>
        <a:dk2>
          <a:srgbClr val="000000"/>
        </a:dk2>
        <a:lt2>
          <a:srgbClr val="003366"/>
        </a:lt2>
        <a:accent1>
          <a:srgbClr val="DDDDDD"/>
        </a:accent1>
        <a:accent2>
          <a:srgbClr val="003366"/>
        </a:accent2>
        <a:accent3>
          <a:srgbClr val="FFFFFF"/>
        </a:accent3>
        <a:accent4>
          <a:srgbClr val="000000"/>
        </a:accent4>
        <a:accent5>
          <a:srgbClr val="EBEBEB"/>
        </a:accent5>
        <a:accent6>
          <a:srgbClr val="002D5C"/>
        </a:accent6>
        <a:hlink>
          <a:srgbClr val="FF0000"/>
        </a:hlink>
        <a:folHlink>
          <a:srgbClr val="8000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786</TotalTime>
  <Words>1763</Words>
  <Application>Microsoft Office PowerPoint</Application>
  <PresentationFormat>全屏显示(16:10)</PresentationFormat>
  <Paragraphs>275</Paragraphs>
  <Slides>23</Slides>
  <Notes>3</Notes>
  <HiddenSlides>0</HiddenSlides>
  <MMClips>0</MMClips>
  <ScaleCrop>false</ScaleCrop>
  <HeadingPairs>
    <vt:vector size="4" baseType="variant">
      <vt:variant>
        <vt:lpstr>主题</vt:lpstr>
      </vt:variant>
      <vt:variant>
        <vt:i4>3</vt:i4>
      </vt:variant>
      <vt:variant>
        <vt:lpstr>幻灯片标题</vt:lpstr>
      </vt:variant>
      <vt:variant>
        <vt:i4>23</vt:i4>
      </vt:variant>
    </vt:vector>
  </HeadingPairs>
  <TitlesOfParts>
    <vt:vector size="26" baseType="lpstr">
      <vt:lpstr>Office 主题​​</vt:lpstr>
      <vt:lpstr>自定义设计方案</vt:lpstr>
      <vt:lpstr>CAPSA</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song.shurong</dc:creator>
  <cp:lastModifiedBy>zhaoguang</cp:lastModifiedBy>
  <cp:revision>171</cp:revision>
  <dcterms:created xsi:type="dcterms:W3CDTF">2017-01-04T06:25:35Z</dcterms:created>
  <dcterms:modified xsi:type="dcterms:W3CDTF">2018-12-11T03:06:54Z</dcterms:modified>
</cp:coreProperties>
</file>